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3.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4.xml" ContentType="application/vnd.openxmlformats-officedocument.theme+xml"/>
  <Override PartName="/ppt/tags/tag2.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5.xml" ContentType="application/vnd.openxmlformats-officedocument.theme+xml"/>
  <Override PartName="/ppt/slideLayouts/slideLayout59.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tags/tag7.xml" ContentType="application/vnd.openxmlformats-officedocument.presentationml.tags+xml"/>
  <Override PartName="/ppt/notesSlides/notesSlide5.xml" ContentType="application/vnd.openxmlformats-officedocument.presentationml.notesSlide+xml"/>
  <Override PartName="/ppt/tags/tag8.xml" ContentType="application/vnd.openxmlformats-officedocument.presentationml.tags+xml"/>
  <Override PartName="/ppt/notesSlides/notesSlide6.xml" ContentType="application/vnd.openxmlformats-officedocument.presentationml.notesSlide+xml"/>
  <Override PartName="/ppt/tags/tag9.xml" ContentType="application/vnd.openxmlformats-officedocument.presentationml.tags+xml"/>
  <Override PartName="/ppt/notesSlides/notesSlide7.xml" ContentType="application/vnd.openxmlformats-officedocument.presentationml.notesSlide+xml"/>
  <Override PartName="/ppt/tags/tag10.xml" ContentType="application/vnd.openxmlformats-officedocument.presentationml.tags+xml"/>
  <Override PartName="/ppt/notesSlides/notesSlide8.xml" ContentType="application/vnd.openxmlformats-officedocument.presentationml.notesSlide+xml"/>
  <Override PartName="/ppt/tags/tag11.xml" ContentType="application/vnd.openxmlformats-officedocument.presentationml.tags+xml"/>
  <Override PartName="/ppt/notesSlides/notesSlide9.xml" ContentType="application/vnd.openxmlformats-officedocument.presentationml.notesSlide+xml"/>
  <Override PartName="/ppt/tags/tag12.xml" ContentType="application/vnd.openxmlformats-officedocument.presentationml.tags+xml"/>
  <Override PartName="/ppt/notesSlides/notesSlide10.xml" ContentType="application/vnd.openxmlformats-officedocument.presentationml.notesSlide+xml"/>
  <Override PartName="/ppt/tags/tag13.xml" ContentType="application/vnd.openxmlformats-officedocument.presentationml.tags+xml"/>
  <Override PartName="/ppt/notesSlides/notesSlide11.xml" ContentType="application/vnd.openxmlformats-officedocument.presentationml.notesSlide+xml"/>
  <Override PartName="/ppt/tags/tag14.xml" ContentType="application/vnd.openxmlformats-officedocument.presentationml.tags+xml"/>
  <Override PartName="/ppt/notesSlides/notesSlide12.xml" ContentType="application/vnd.openxmlformats-officedocument.presentationml.notesSlide+xml"/>
  <Override PartName="/ppt/tags/tag15.xml" ContentType="application/vnd.openxmlformats-officedocument.presentationml.tags+xml"/>
  <Override PartName="/ppt/notesSlides/notesSlide13.xml" ContentType="application/vnd.openxmlformats-officedocument.presentationml.notesSlide+xml"/>
  <Override PartName="/ppt/tags/tag16.xml" ContentType="application/vnd.openxmlformats-officedocument.presentationml.tags+xml"/>
  <Override PartName="/ppt/notesSlides/notesSlide14.xml" ContentType="application/vnd.openxmlformats-officedocument.presentationml.notesSlide+xml"/>
  <Override PartName="/ppt/tags/tag17.xml" ContentType="application/vnd.openxmlformats-officedocument.presentationml.tags+xml"/>
  <Override PartName="/ppt/notesSlides/notesSlide15.xml" ContentType="application/vnd.openxmlformats-officedocument.presentationml.notesSlide+xml"/>
  <Override PartName="/ppt/tags/tag18.xml" ContentType="application/vnd.openxmlformats-officedocument.presentationml.tags+xml"/>
  <Override PartName="/ppt/notesSlides/notesSlide16.xml" ContentType="application/vnd.openxmlformats-officedocument.presentationml.notesSlide+xml"/>
  <Override PartName="/ppt/tags/tag19.xml" ContentType="application/vnd.openxmlformats-officedocument.presentationml.tags+xml"/>
  <Override PartName="/ppt/notesSlides/notesSlide17.xml" ContentType="application/vnd.openxmlformats-officedocument.presentationml.notesSlide+xml"/>
  <Override PartName="/ppt/tags/tag20.xml" ContentType="application/vnd.openxmlformats-officedocument.presentationml.tags+xml"/>
  <Override PartName="/ppt/notesSlides/notesSlide18.xml" ContentType="application/vnd.openxmlformats-officedocument.presentationml.notesSlide+xml"/>
  <Override PartName="/ppt/tags/tag21.xml" ContentType="application/vnd.openxmlformats-officedocument.presentationml.tags+xml"/>
  <Override PartName="/ppt/notesSlides/notesSlide19.xml" ContentType="application/vnd.openxmlformats-officedocument.presentationml.notesSlide+xml"/>
  <Override PartName="/ppt/tags/tag22.xml" ContentType="application/vnd.openxmlformats-officedocument.presentationml.tags+xml"/>
  <Override PartName="/ppt/notesSlides/notesSlide20.xml" ContentType="application/vnd.openxmlformats-officedocument.presentationml.notesSlide+xml"/>
  <Override PartName="/ppt/tags/tag23.xml" ContentType="application/vnd.openxmlformats-officedocument.presentationml.tags+xml"/>
  <Override PartName="/ppt/notesSlides/notesSlide21.xml" ContentType="application/vnd.openxmlformats-officedocument.presentationml.notesSlide+xml"/>
  <Override PartName="/ppt/tags/tag24.xml" ContentType="application/vnd.openxmlformats-officedocument.presentationml.tags+xml"/>
  <Override PartName="/ppt/notesSlides/notesSlide22.xml" ContentType="application/vnd.openxmlformats-officedocument.presentationml.notesSlide+xml"/>
  <Override PartName="/ppt/tags/tag25.xml" ContentType="application/vnd.openxmlformats-officedocument.presentationml.tags+xml"/>
  <Override PartName="/ppt/notesSlides/notesSlide23.xml" ContentType="application/vnd.openxmlformats-officedocument.presentationml.notesSlide+xml"/>
  <Override PartName="/ppt/tags/tag26.xml" ContentType="application/vnd.openxmlformats-officedocument.presentationml.tags+xml"/>
  <Override PartName="/ppt/notesSlides/notesSlide24.xml" ContentType="application/vnd.openxmlformats-officedocument.presentationml.notesSlide+xml"/>
  <Override PartName="/ppt/tags/tag27.xml" ContentType="application/vnd.openxmlformats-officedocument.presentationml.tags+xml"/>
  <Override PartName="/ppt/notesSlides/notesSlide25.xml" ContentType="application/vnd.openxmlformats-officedocument.presentationml.notesSlide+xml"/>
  <Override PartName="/ppt/tags/tag28.xml" ContentType="application/vnd.openxmlformats-officedocument.presentationml.tags+xml"/>
  <Override PartName="/ppt/notesSlides/notesSlide26.xml" ContentType="application/vnd.openxmlformats-officedocument.presentationml.notesSlide+xml"/>
  <Override PartName="/ppt/tags/tag29.xml" ContentType="application/vnd.openxmlformats-officedocument.presentationml.tags+xml"/>
  <Override PartName="/ppt/notesSlides/notesSlide27.xml" ContentType="application/vnd.openxmlformats-officedocument.presentationml.notesSlide+xml"/>
  <Override PartName="/ppt/tags/tag30.xml" ContentType="application/vnd.openxmlformats-officedocument.presentationml.tags+xml"/>
  <Override PartName="/ppt/notesSlides/notesSlide28.xml" ContentType="application/vnd.openxmlformats-officedocument.presentationml.notesSlide+xml"/>
  <Override PartName="/ppt/tags/tag31.xml" ContentType="application/vnd.openxmlformats-officedocument.presentationml.tags+xml"/>
  <Override PartName="/ppt/notesSlides/notesSlide29.xml" ContentType="application/vnd.openxmlformats-officedocument.presentationml.notesSlide+xml"/>
  <Override PartName="/ppt/tags/tag32.xml" ContentType="application/vnd.openxmlformats-officedocument.presentationml.tags+xml"/>
  <Override PartName="/ppt/notesSlides/notesSlide30.xml" ContentType="application/vnd.openxmlformats-officedocument.presentationml.notesSlide+xml"/>
  <Override PartName="/ppt/tags/tag33.xml" ContentType="application/vnd.openxmlformats-officedocument.presentationml.tags+xml"/>
  <Override PartName="/ppt/notesSlides/notesSlide31.xml" ContentType="application/vnd.openxmlformats-officedocument.presentationml.notesSlide+xml"/>
  <Override PartName="/ppt/tags/tag34.xml" ContentType="application/vnd.openxmlformats-officedocument.presentationml.tags+xml"/>
  <Override PartName="/ppt/notesSlides/notesSlide32.xml" ContentType="application/vnd.openxmlformats-officedocument.presentationml.notesSlide+xml"/>
  <Override PartName="/ppt/tags/tag35.xml" ContentType="application/vnd.openxmlformats-officedocument.presentationml.tags+xml"/>
  <Override PartName="/ppt/notesSlides/notesSlide33.xml" ContentType="application/vnd.openxmlformats-officedocument.presentationml.notesSlide+xml"/>
  <Override PartName="/ppt/tags/tag36.xml" ContentType="application/vnd.openxmlformats-officedocument.presentationml.tags+xml"/>
  <Override PartName="/ppt/notesSlides/notesSlide34.xml" ContentType="application/vnd.openxmlformats-officedocument.presentationml.notesSlide+xml"/>
  <Override PartName="/ppt/tags/tag37.xml" ContentType="application/vnd.openxmlformats-officedocument.presentationml.tags+xml"/>
  <Override PartName="/ppt/notesSlides/notesSlide35.xml" ContentType="application/vnd.openxmlformats-officedocument.presentationml.notesSlide+xml"/>
  <Override PartName="/ppt/tags/tag38.xml" ContentType="application/vnd.openxmlformats-officedocument.presentationml.tags+xml"/>
  <Override PartName="/ppt/notesSlides/notesSlide36.xml" ContentType="application/vnd.openxmlformats-officedocument.presentationml.notesSlide+xml"/>
  <Override PartName="/ppt/tags/tag39.xml" ContentType="application/vnd.openxmlformats-officedocument.presentationml.tags+xml"/>
  <Override PartName="/ppt/notesSlides/notesSlide37.xml" ContentType="application/vnd.openxmlformats-officedocument.presentationml.notesSlide+xml"/>
  <Override PartName="/ppt/tags/tag40.xml" ContentType="application/vnd.openxmlformats-officedocument.presentationml.tags+xml"/>
  <Override PartName="/ppt/notesSlides/notesSlide38.xml" ContentType="application/vnd.openxmlformats-officedocument.presentationml.notesSlide+xml"/>
  <Override PartName="/ppt/tags/tag41.xml" ContentType="application/vnd.openxmlformats-officedocument.presentationml.tags+xml"/>
  <Override PartName="/ppt/notesSlides/notesSlide3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4229" r:id="rId4"/>
    <p:sldMasterId id="2147484528" r:id="rId5"/>
    <p:sldMasterId id="2147484538" r:id="rId6"/>
    <p:sldMasterId id="2147484545" r:id="rId7"/>
    <p:sldMasterId id="2147484590" r:id="rId8"/>
    <p:sldMasterId id="2147484613" r:id="rId9"/>
  </p:sldMasterIdLst>
  <p:notesMasterIdLst>
    <p:notesMasterId r:id="rId49"/>
  </p:notesMasterIdLst>
  <p:handoutMasterIdLst>
    <p:handoutMasterId r:id="rId50"/>
  </p:handoutMasterIdLst>
  <p:sldIdLst>
    <p:sldId id="1619" r:id="rId10"/>
    <p:sldId id="1505" r:id="rId11"/>
    <p:sldId id="1709" r:id="rId12"/>
    <p:sldId id="1743" r:id="rId13"/>
    <p:sldId id="1742" r:id="rId14"/>
    <p:sldId id="1744" r:id="rId15"/>
    <p:sldId id="1745" r:id="rId16"/>
    <p:sldId id="1724" r:id="rId17"/>
    <p:sldId id="1725" r:id="rId18"/>
    <p:sldId id="1765" r:id="rId19"/>
    <p:sldId id="1762" r:id="rId20"/>
    <p:sldId id="1763" r:id="rId21"/>
    <p:sldId id="1764" r:id="rId22"/>
    <p:sldId id="1766" r:id="rId23"/>
    <p:sldId id="1767" r:id="rId24"/>
    <p:sldId id="1726" r:id="rId25"/>
    <p:sldId id="1768" r:id="rId26"/>
    <p:sldId id="1769" r:id="rId27"/>
    <p:sldId id="1770" r:id="rId28"/>
    <p:sldId id="1771" r:id="rId29"/>
    <p:sldId id="1778" r:id="rId30"/>
    <p:sldId id="1773" r:id="rId31"/>
    <p:sldId id="1774" r:id="rId32"/>
    <p:sldId id="1775" r:id="rId33"/>
    <p:sldId id="1779" r:id="rId34"/>
    <p:sldId id="1776" r:id="rId35"/>
    <p:sldId id="1777" r:id="rId36"/>
    <p:sldId id="1780" r:id="rId37"/>
    <p:sldId id="1787" r:id="rId38"/>
    <p:sldId id="1786" r:id="rId39"/>
    <p:sldId id="1737" r:id="rId40"/>
    <p:sldId id="1785" r:id="rId41"/>
    <p:sldId id="1710" r:id="rId42"/>
    <p:sldId id="1760" r:id="rId43"/>
    <p:sldId id="1781" r:id="rId44"/>
    <p:sldId id="1782" r:id="rId45"/>
    <p:sldId id="1783" r:id="rId46"/>
    <p:sldId id="1784" r:id="rId47"/>
    <p:sldId id="1673" r:id="rId48"/>
  </p:sldIdLst>
  <p:sldSz cx="12436475" cy="6994525"/>
  <p:notesSz cx="6858000" cy="9144000"/>
  <p:custDataLst>
    <p:tags r:id="rId51"/>
  </p:custDataLst>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3D531621-88BB-4AB5-A563-3C33C884DFF6}">
          <p14:sldIdLst>
            <p14:sldId id="1619"/>
          </p14:sldIdLst>
        </p14:section>
        <p14:section name="Agenda" id="{0D90585C-45BD-4AE8-9506-C447777B90F4}">
          <p14:sldIdLst>
            <p14:sldId id="1505"/>
          </p14:sldIdLst>
        </p14:section>
        <p14:section name="Cognitive Services Introduction" id="{C3172A35-3EDF-454D-8388-F6A6AB74BA6C}">
          <p14:sldIdLst>
            <p14:sldId id="1709"/>
            <p14:sldId id="1743"/>
            <p14:sldId id="1742"/>
            <p14:sldId id="1744"/>
            <p14:sldId id="1745"/>
          </p14:sldIdLst>
        </p14:section>
        <p14:section name="Computer Vision Image Overview" id="{90C56699-B166-46CC-A95D-47392175A48E}">
          <p14:sldIdLst>
            <p14:sldId id="1724"/>
            <p14:sldId id="1725"/>
            <p14:sldId id="1765"/>
            <p14:sldId id="1762"/>
            <p14:sldId id="1763"/>
            <p14:sldId id="1764"/>
            <p14:sldId id="1766"/>
            <p14:sldId id="1767"/>
            <p14:sldId id="1726"/>
            <p14:sldId id="1768"/>
            <p14:sldId id="1769"/>
            <p14:sldId id="1770"/>
            <p14:sldId id="1771"/>
            <p14:sldId id="1778"/>
            <p14:sldId id="1773"/>
            <p14:sldId id="1774"/>
            <p14:sldId id="1775"/>
            <p14:sldId id="1779"/>
            <p14:sldId id="1776"/>
            <p14:sldId id="1777"/>
            <p14:sldId id="1780"/>
            <p14:sldId id="1787"/>
            <p14:sldId id="1786"/>
          </p14:sldIdLst>
        </p14:section>
        <p14:section name="Lab" id="{2F4178A7-A534-4C81-95E0-BAA3FEDC3F09}">
          <p14:sldIdLst>
            <p14:sldId id="1737"/>
            <p14:sldId id="1785"/>
          </p14:sldIdLst>
        </p14:section>
        <p14:section name="Conclusion" id="{ACABFB4E-EAF9-4CB5-8743-F7A021A603FC}">
          <p14:sldIdLst>
            <p14:sldId id="1710"/>
            <p14:sldId id="1760"/>
            <p14:sldId id="1781"/>
            <p14:sldId id="1782"/>
            <p14:sldId id="1783"/>
          </p14:sldIdLst>
        </p14:section>
        <p14:section name="Promo and warranty slide" id="{FB7815B3-D828-4E56-964C-AD757712BC3A}">
          <p14:sldIdLst>
            <p14:sldId id="1784"/>
            <p14:sldId id="1673"/>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0F0"/>
    <a:srgbClr val="002864"/>
    <a:srgbClr val="002050"/>
    <a:srgbClr val="00BCF2"/>
    <a:srgbClr val="FFCC00"/>
    <a:srgbClr val="005AA1"/>
    <a:srgbClr val="FCB713"/>
    <a:srgbClr val="0078D7"/>
    <a:srgbClr val="0D7595"/>
    <a:srgbClr val="5ACBF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717" autoAdjust="0"/>
    <p:restoredTop sz="63325" autoAdjust="0"/>
  </p:normalViewPr>
  <p:slideViewPr>
    <p:cSldViewPr snapToGrid="0">
      <p:cViewPr varScale="1">
        <p:scale>
          <a:sx n="64" d="100"/>
          <a:sy n="64" d="100"/>
        </p:scale>
        <p:origin x="906" y="24"/>
      </p:cViewPr>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00" d="100"/>
        <a:sy n="100" d="100"/>
      </p:scale>
      <p:origin x="0" y="0"/>
    </p:cViewPr>
  </p:sorterViewPr>
  <p:notesViewPr>
    <p:cSldViewPr snapToGrid="0" showGuides="1">
      <p:cViewPr varScale="1">
        <p:scale>
          <a:sx n="99" d="100"/>
          <a:sy n="99" d="100"/>
        </p:scale>
        <p:origin x="3570" y="7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slide" Target="slides/slide33.xml"/><Relationship Id="rId47" Type="http://schemas.openxmlformats.org/officeDocument/2006/relationships/slide" Target="slides/slide38.xml"/><Relationship Id="rId50" Type="http://schemas.openxmlformats.org/officeDocument/2006/relationships/handoutMaster" Target="handoutMasters/handoutMaster1.xml"/><Relationship Id="rId55"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7.xml"/><Relationship Id="rId29" Type="http://schemas.openxmlformats.org/officeDocument/2006/relationships/slide" Target="slides/slide20.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slide" Target="slides/slide36.xml"/><Relationship Id="rId53" Type="http://schemas.openxmlformats.org/officeDocument/2006/relationships/presProps" Target="presProps.xml"/><Relationship Id="rId5" Type="http://schemas.openxmlformats.org/officeDocument/2006/relationships/slideMaster" Target="slideMasters/slideMaster2.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slide" Target="slides/slide39.xml"/><Relationship Id="rId56"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tags" Target="tags/tag1.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20" Type="http://schemas.openxmlformats.org/officeDocument/2006/relationships/slide" Target="slides/slide11.xml"/><Relationship Id="rId41" Type="http://schemas.openxmlformats.org/officeDocument/2006/relationships/slide" Target="slides/slide32.xml"/><Relationship Id="rId54"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8/20/2018 3:35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2" name="Notes Placeholder 11"/>
          <p:cNvSpPr>
            <a:spLocks noGrp="1"/>
          </p:cNvSpPr>
          <p:nvPr>
            <p:ph type="body" sz="quarter" idx="3"/>
          </p:nvPr>
        </p:nvSpPr>
        <p:spPr>
          <a:xfrm>
            <a:off x="381000" y="4321432"/>
            <a:ext cx="6096000" cy="4136768"/>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pic>
        <p:nvPicPr>
          <p:cNvPr id="2" name="Picture 1"/>
          <p:cNvPicPr>
            <a:picLocks noChangeAspect="1"/>
          </p:cNvPicPr>
          <p:nvPr/>
        </p:nvPicPr>
        <p:blipFill>
          <a:blip r:embed="rId2"/>
          <a:stretch>
            <a:fillRect/>
          </a:stretch>
        </p:blipFill>
        <p:spPr>
          <a:xfrm>
            <a:off x="381000" y="187552"/>
            <a:ext cx="1926660" cy="243112"/>
          </a:xfrm>
          <a:prstGeom prst="rect">
            <a:avLst/>
          </a:prstGeom>
        </p:spPr>
      </p:pic>
      <p:sp>
        <p:nvSpPr>
          <p:cNvPr id="3" name="Rectangle 2"/>
          <p:cNvSpPr/>
          <p:nvPr/>
        </p:nvSpPr>
        <p:spPr>
          <a:xfrm>
            <a:off x="2566930" y="202169"/>
            <a:ext cx="3910070" cy="276999"/>
          </a:xfrm>
          <a:prstGeom prst="rect">
            <a:avLst/>
          </a:prstGeom>
        </p:spPr>
        <p:txBody>
          <a:bodyPr wrap="square">
            <a:spAutoFit/>
          </a:bodyPr>
          <a:lstStyle/>
          <a:p>
            <a:pPr algn="r"/>
            <a:r>
              <a:rPr lang="en-US" sz="1200" b="1" dirty="0">
                <a:solidFill>
                  <a:schemeClr val="accent6">
                    <a:lumMod val="75000"/>
                  </a:schemeClr>
                </a:solidFill>
                <a:effectLst/>
                <a:latin typeface="Calibri" panose="020F0502020204030204" pitchFamily="34" charset="0"/>
                <a:ea typeface="SimSun" panose="02010600030101010101" pitchFamily="2" charset="-122"/>
                <a:cs typeface="Arial" panose="020B0604020202020204" pitchFamily="34" charset="0"/>
              </a:rPr>
              <a:t>Cortana Intelligence Suite Workshop Class Notebook</a:t>
            </a:r>
            <a:endParaRPr lang="en-US" sz="2800" b="1" dirty="0">
              <a:solidFill>
                <a:schemeClr val="accent6">
                  <a:lumMod val="75000"/>
                </a:schemeClr>
              </a:solidFill>
            </a:endParaRPr>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18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18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18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18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18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account.microsoft.com/account" TargetMode="External"/><Relationship Id="rId2" Type="http://schemas.openxmlformats.org/officeDocument/2006/relationships/slide" Target="../slides/slide11.xml"/><Relationship Id="rId1" Type="http://schemas.openxmlformats.org/officeDocument/2006/relationships/notesMaster" Target="../notesMasters/notesMaster1.xml"/><Relationship Id="rId4" Type="http://schemas.openxmlformats.org/officeDocument/2006/relationships/hyperlink" Target="https://www.microsoft.com/en-us/trustcenter/cloudservices/nationalcloud" TargetMode="Externa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s://www.visualstudio.com/downloads/" TargetMode="External"/><Relationship Id="rId2" Type="http://schemas.openxmlformats.org/officeDocument/2006/relationships/slide" Target="../slides/slide21.xml"/><Relationship Id="rId1" Type="http://schemas.openxmlformats.org/officeDocument/2006/relationships/notesMaster" Target="../notesMasters/notesMaster1.xml"/><Relationship Id="rId6" Type="http://schemas.openxmlformats.org/officeDocument/2006/relationships/hyperlink" Target="https://customvision.ai/" TargetMode="External"/><Relationship Id="rId5" Type="http://schemas.openxmlformats.org/officeDocument/2006/relationships/hyperlink" Target="ttp://nuget.org/" TargetMode="External"/><Relationship Id="rId4" Type="http://schemas.openxmlformats.org/officeDocument/2006/relationships/hyperlink" Target="https://www.nuget.org/packages/Microsoft.Cognitive.CustomVision.Training/" TargetMode="Externa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3" Type="http://schemas.openxmlformats.org/officeDocument/2006/relationships/hyperlink" Target="https://www.visualstudio.com/downloads/" TargetMode="External"/><Relationship Id="rId2" Type="http://schemas.openxmlformats.org/officeDocument/2006/relationships/slide" Target="../slides/slide25.xml"/><Relationship Id="rId1" Type="http://schemas.openxmlformats.org/officeDocument/2006/relationships/notesMaster" Target="../notesMasters/notesMaster1.xml"/><Relationship Id="rId6" Type="http://schemas.openxmlformats.org/officeDocument/2006/relationships/hyperlink" Target="https://customvision.ai/" TargetMode="External"/><Relationship Id="rId5" Type="http://schemas.openxmlformats.org/officeDocument/2006/relationships/hyperlink" Target="ttp://nuget.org/" TargetMode="External"/><Relationship Id="rId4" Type="http://schemas.openxmlformats.org/officeDocument/2006/relationships/hyperlink" Target="https://www.nuget.org/packages/Microsoft.Cognitive.CustomVision.Training/" TargetMode="Externa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3" Type="http://schemas.openxmlformats.org/officeDocument/2006/relationships/hyperlink" Target="https://www.visualstudio.com/downloads/" TargetMode="External"/><Relationship Id="rId2" Type="http://schemas.openxmlformats.org/officeDocument/2006/relationships/slide" Target="../slides/slide28.xml"/><Relationship Id="rId1" Type="http://schemas.openxmlformats.org/officeDocument/2006/relationships/notesMaster" Target="../notesMasters/notesMaster1.xml"/><Relationship Id="rId6" Type="http://schemas.openxmlformats.org/officeDocument/2006/relationships/hyperlink" Target="https://customvision.ai/" TargetMode="External"/><Relationship Id="rId5" Type="http://schemas.openxmlformats.org/officeDocument/2006/relationships/hyperlink" Target="ttp://nuget.org/" TargetMode="External"/><Relationship Id="rId4" Type="http://schemas.openxmlformats.org/officeDocument/2006/relationships/hyperlink" Target="https://www.nuget.org/packages/Microsoft.Cognitive.CustomVision.Training/" TargetMode="Externa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3" Type="http://schemas.openxmlformats.org/officeDocument/2006/relationships/hyperlink" Target="https://www.visualstudio.com/downloads/" TargetMode="External"/><Relationship Id="rId2" Type="http://schemas.openxmlformats.org/officeDocument/2006/relationships/slide" Target="../slides/slide31.xml"/><Relationship Id="rId1" Type="http://schemas.openxmlformats.org/officeDocument/2006/relationships/notesMaster" Target="../notesMasters/notesMaster1.xml"/><Relationship Id="rId6" Type="http://schemas.openxmlformats.org/officeDocument/2006/relationships/hyperlink" Target="https://customvision.ai/" TargetMode="External"/><Relationship Id="rId5" Type="http://schemas.openxmlformats.org/officeDocument/2006/relationships/hyperlink" Target="ttp://nuget.org/" TargetMode="External"/><Relationship Id="rId4" Type="http://schemas.openxmlformats.org/officeDocument/2006/relationships/hyperlink" Target="https://www.nuget.org/packages/Microsoft.Cognitive.CustomVision.Training/" TargetMode="External"/></Relationships>
</file>

<file path=ppt/notesSlides/_rels/notesSlide32.xml.rels><?xml version="1.0" encoding="UTF-8" standalone="yes"?>
<Relationships xmlns="http://schemas.openxmlformats.org/package/2006/relationships"><Relationship Id="rId3" Type="http://schemas.openxmlformats.org/officeDocument/2006/relationships/hyperlink" Target="https://www.visualstudio.com/downloads/" TargetMode="External"/><Relationship Id="rId2" Type="http://schemas.openxmlformats.org/officeDocument/2006/relationships/slide" Target="../slides/slide32.xml"/><Relationship Id="rId1" Type="http://schemas.openxmlformats.org/officeDocument/2006/relationships/notesMaster" Target="../notesMasters/notesMaster1.xml"/><Relationship Id="rId6" Type="http://schemas.openxmlformats.org/officeDocument/2006/relationships/hyperlink" Target="https://customvision.ai/" TargetMode="External"/><Relationship Id="rId5" Type="http://schemas.openxmlformats.org/officeDocument/2006/relationships/hyperlink" Target="ttp://nuget.org/" TargetMode="External"/><Relationship Id="rId4" Type="http://schemas.openxmlformats.org/officeDocument/2006/relationships/hyperlink" Target="https://www.nuget.org/packages/Microsoft.Cognitive.CustomVision.Training/" TargetMode="Externa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8" Type="http://schemas.openxmlformats.org/officeDocument/2006/relationships/hyperlink" Target="https://azure.microsoft.com/en-gb/services/cognitive-services/face/" TargetMode="External"/><Relationship Id="rId13" Type="http://schemas.openxmlformats.org/officeDocument/2006/relationships/hyperlink" Target="https://azure.microsoft.com/en-gb/try/cognitive-services/?api=emotion-api" TargetMode="External"/><Relationship Id="rId3" Type="http://schemas.openxmlformats.org/officeDocument/2006/relationships/hyperlink" Target="https://azure.microsoft.com/en-gb/services/cognitive-services/custom-vision-service/" TargetMode="External"/><Relationship Id="rId7" Type="http://schemas.openxmlformats.org/officeDocument/2006/relationships/hyperlink" Target="https://portal.azure.com/#create/Microsoft.CognitiveServices" TargetMode="External"/><Relationship Id="rId12" Type="http://schemas.openxmlformats.org/officeDocument/2006/relationships/hyperlink" Target="https://azure.microsoft.com/en-gb/services/cognitive-services/emotion/" TargetMode="External"/><Relationship Id="rId2" Type="http://schemas.openxmlformats.org/officeDocument/2006/relationships/slide" Target="../slides/slide35.xml"/><Relationship Id="rId16" Type="http://schemas.openxmlformats.org/officeDocument/2006/relationships/hyperlink" Target="https://vi.microsoft.com/" TargetMode="External"/><Relationship Id="rId1" Type="http://schemas.openxmlformats.org/officeDocument/2006/relationships/notesMaster" Target="../notesMasters/notesMaster1.xml"/><Relationship Id="rId6" Type="http://schemas.openxmlformats.org/officeDocument/2006/relationships/hyperlink" Target="https://azure.microsoft.com/en-gb/try/cognitive-services/?api=computer-vision" TargetMode="External"/><Relationship Id="rId11" Type="http://schemas.openxmlformats.org/officeDocument/2006/relationships/hyperlink" Target="http://contentmoderator.cognitive.microsoft.com/" TargetMode="External"/><Relationship Id="rId5" Type="http://schemas.openxmlformats.org/officeDocument/2006/relationships/hyperlink" Target="https://azure.microsoft.com/en-gb/services/cognitive-services/computer-vision/" TargetMode="External"/><Relationship Id="rId15" Type="http://schemas.openxmlformats.org/officeDocument/2006/relationships/hyperlink" Target="https://azure.microsoft.com/en-gb/services/cognitive-services/video-indexer/" TargetMode="External"/><Relationship Id="rId10" Type="http://schemas.openxmlformats.org/officeDocument/2006/relationships/hyperlink" Target="https://azure.microsoft.com/en-gb/services/cognitive-services/content-moderator/" TargetMode="External"/><Relationship Id="rId4" Type="http://schemas.openxmlformats.org/officeDocument/2006/relationships/hyperlink" Target="https://www.customvision.ai/" TargetMode="External"/><Relationship Id="rId9" Type="http://schemas.openxmlformats.org/officeDocument/2006/relationships/hyperlink" Target="https://azure.microsoft.com/en-gb/try/cognitive-services/?api=face-api" TargetMode="External"/><Relationship Id="rId14" Type="http://schemas.openxmlformats.org/officeDocument/2006/relationships/hyperlink" Target="https://azure.microsoft.com/en-gb/services/cognitive-services/video-api/" TargetMode="Externa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azure.microsoft.com/en-gb/services/cognitive-services/directory/vision/" TargetMode="External"/><Relationship Id="rId7" Type="http://schemas.openxmlformats.org/officeDocument/2006/relationships/hyperlink" Target="https://azure.microsoft.com/en-gb/services/cognitive-services/directory/lang/" TargetMode="External"/><Relationship Id="rId2" Type="http://schemas.openxmlformats.org/officeDocument/2006/relationships/slide" Target="../slides/slide6.xml"/><Relationship Id="rId1" Type="http://schemas.openxmlformats.org/officeDocument/2006/relationships/notesMaster" Target="../notesMasters/notesMaster1.xml"/><Relationship Id="rId6" Type="http://schemas.openxmlformats.org/officeDocument/2006/relationships/hyperlink" Target="https://azure.microsoft.com/en-gb/services/cognitive-services/directory/search/" TargetMode="External"/><Relationship Id="rId5" Type="http://schemas.openxmlformats.org/officeDocument/2006/relationships/hyperlink" Target="https://azure.microsoft.com/en-gb/services/cognitive-services/directory/know/" TargetMode="External"/><Relationship Id="rId4" Type="http://schemas.openxmlformats.org/officeDocument/2006/relationships/hyperlink" Target="https://azure.microsoft.com/en-gb/services/cognitive-services/directory/speech/" TargetMode="External"/></Relationships>
</file>

<file path=ppt/notesSlides/_rels/notesSlide7.xml.rels><?xml version="1.0" encoding="UTF-8" standalone="yes"?>
<Relationships xmlns="http://schemas.openxmlformats.org/package/2006/relationships"><Relationship Id="rId8" Type="http://schemas.openxmlformats.org/officeDocument/2006/relationships/hyperlink" Target="https://azure.microsoft.com/en-gb/services/cognitive-services/face/" TargetMode="External"/><Relationship Id="rId13" Type="http://schemas.openxmlformats.org/officeDocument/2006/relationships/hyperlink" Target="https://azure.microsoft.com/en-gb/try/cognitive-services/?api=emotion-api" TargetMode="External"/><Relationship Id="rId3" Type="http://schemas.openxmlformats.org/officeDocument/2006/relationships/hyperlink" Target="https://azure.microsoft.com/en-gb/services/cognitive-services/custom-vision-service/" TargetMode="External"/><Relationship Id="rId7" Type="http://schemas.openxmlformats.org/officeDocument/2006/relationships/hyperlink" Target="https://portal.azure.com/#create/Microsoft.CognitiveServices" TargetMode="External"/><Relationship Id="rId12" Type="http://schemas.openxmlformats.org/officeDocument/2006/relationships/hyperlink" Target="https://azure.microsoft.com/en-gb/services/cognitive-services/emotion/" TargetMode="External"/><Relationship Id="rId2" Type="http://schemas.openxmlformats.org/officeDocument/2006/relationships/slide" Target="../slides/slide7.xml"/><Relationship Id="rId16" Type="http://schemas.openxmlformats.org/officeDocument/2006/relationships/hyperlink" Target="https://vi.microsoft.com/" TargetMode="External"/><Relationship Id="rId1" Type="http://schemas.openxmlformats.org/officeDocument/2006/relationships/notesMaster" Target="../notesMasters/notesMaster1.xml"/><Relationship Id="rId6" Type="http://schemas.openxmlformats.org/officeDocument/2006/relationships/hyperlink" Target="https://azure.microsoft.com/en-gb/try/cognitive-services/?api=computer-vision" TargetMode="External"/><Relationship Id="rId11" Type="http://schemas.openxmlformats.org/officeDocument/2006/relationships/hyperlink" Target="http://contentmoderator.cognitive.microsoft.com/" TargetMode="External"/><Relationship Id="rId5" Type="http://schemas.openxmlformats.org/officeDocument/2006/relationships/hyperlink" Target="https://azure.microsoft.com/en-gb/services/cognitive-services/computer-vision/" TargetMode="External"/><Relationship Id="rId15" Type="http://schemas.openxmlformats.org/officeDocument/2006/relationships/hyperlink" Target="https://azure.microsoft.com/en-gb/services/cognitive-services/video-indexer/" TargetMode="External"/><Relationship Id="rId10" Type="http://schemas.openxmlformats.org/officeDocument/2006/relationships/hyperlink" Target="https://azure.microsoft.com/en-gb/services/cognitive-services/content-moderator/" TargetMode="External"/><Relationship Id="rId4" Type="http://schemas.openxmlformats.org/officeDocument/2006/relationships/hyperlink" Target="https://www.customvision.ai/" TargetMode="External"/><Relationship Id="rId9" Type="http://schemas.openxmlformats.org/officeDocument/2006/relationships/hyperlink" Target="https://azure.microsoft.com/en-gb/try/cognitive-services/?api=face-api" TargetMode="External"/><Relationship Id="rId14" Type="http://schemas.openxmlformats.org/officeDocument/2006/relationships/hyperlink" Target="https://azure.microsoft.com/en-gb/services/cognitive-services/video-api/" TargetMode="Externa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86002">
              <a:spcAft>
                <a:spcPts val="359"/>
              </a:spcAft>
              <a:defRPr/>
            </a:pPr>
            <a:r>
              <a:rPr lang="en-US" dirty="0"/>
              <a:t>This session is brought to you by Microsoft’s Artificial Intelligence and Research Team.</a:t>
            </a:r>
          </a:p>
        </p:txBody>
      </p:sp>
      <p:sp>
        <p:nvSpPr>
          <p:cNvPr id="4" name="Footer Placeholder 3"/>
          <p:cNvSpPr>
            <a:spLocks noGrp="1"/>
          </p:cNvSpPr>
          <p:nvPr>
            <p:ph type="ftr" sz="quarter" idx="10"/>
          </p:nvPr>
        </p:nvSpPr>
        <p:spPr/>
        <p:txBody>
          <a:bodyPr/>
          <a:lstStyle/>
          <a:p>
            <a:pPr defTabSz="96629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7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Slide Number Placeholder 4"/>
          <p:cNvSpPr>
            <a:spLocks noGrp="1"/>
          </p:cNvSpPr>
          <p:nvPr>
            <p:ph type="sldNum" sz="quarter" idx="11"/>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307774357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74320" y="4217670"/>
            <a:ext cx="6297930" cy="4594860"/>
          </a:xfrm>
        </p:spPr>
        <p:txBody>
          <a:bodyPr/>
          <a:lstStyle/>
          <a:p>
            <a:pPr rtl="0"/>
            <a:r>
              <a:rPr lang="en-GB" sz="1000" dirty="0"/>
              <a:t>The following process is followed to make use of the custom vision service.</a:t>
            </a:r>
          </a:p>
          <a:p>
            <a:pPr rtl="0"/>
            <a:endParaRPr lang="en-GB" sz="1000" b="0" dirty="0"/>
          </a:p>
          <a:p>
            <a:pPr marL="228600" indent="-228600" rtl="0">
              <a:buAutoNum type="arabicPeriod"/>
            </a:pPr>
            <a:r>
              <a:rPr lang="en-GB" sz="1000" b="0" dirty="0"/>
              <a:t>Upload images</a:t>
            </a:r>
          </a:p>
          <a:p>
            <a:pPr marL="228600" indent="-228600" rtl="0">
              <a:buAutoNum type="arabicPeriod"/>
            </a:pPr>
            <a:r>
              <a:rPr lang="en-GB" sz="1000" b="0" dirty="0"/>
              <a:t>Build and Model the images</a:t>
            </a:r>
          </a:p>
          <a:p>
            <a:pPr marL="445862" lvl="1" indent="-228600" rtl="0">
              <a:buFont typeface="+mj-lt"/>
              <a:buAutoNum type="alphaLcPeriod"/>
            </a:pPr>
            <a:r>
              <a:rPr lang="en-GB" sz="1000" b="0" dirty="0"/>
              <a:t>Tag/Classify the images.</a:t>
            </a:r>
          </a:p>
          <a:p>
            <a:pPr marL="445862" lvl="1" indent="-228600" rtl="0">
              <a:buFont typeface="+mj-lt"/>
              <a:buAutoNum type="alphaLcPeriod"/>
            </a:pPr>
            <a:r>
              <a:rPr lang="en-GB" sz="1000" b="0" dirty="0"/>
              <a:t>Train the Classifier.</a:t>
            </a:r>
          </a:p>
          <a:p>
            <a:pPr marL="445862" lvl="1" indent="-228600" rtl="0">
              <a:buFont typeface="+mj-lt"/>
              <a:buAutoNum type="alphaLcPeriod"/>
            </a:pPr>
            <a:r>
              <a:rPr lang="en-GB" sz="1000" b="0" dirty="0"/>
              <a:t>Test the Classifier.</a:t>
            </a:r>
          </a:p>
          <a:p>
            <a:pPr marL="445862" lvl="1" indent="-228600" rtl="0">
              <a:buFont typeface="+mj-lt"/>
              <a:buAutoNum type="alphaLcPeriod"/>
            </a:pPr>
            <a:r>
              <a:rPr lang="en-GB" sz="1000" b="0" dirty="0"/>
              <a:t>Evaluate the Classifier results</a:t>
            </a:r>
          </a:p>
          <a:p>
            <a:pPr marL="228600" lvl="0" indent="-228600" rtl="0">
              <a:buAutoNum type="arabicPeriod"/>
            </a:pPr>
            <a:r>
              <a:rPr lang="en-GB" sz="1000" b="0" dirty="0"/>
              <a:t>Generate a Prediction API</a:t>
            </a:r>
          </a:p>
          <a:p>
            <a:pPr marL="228600" lvl="0" indent="-228600" rtl="0">
              <a:buAutoNum type="arabicPeriod"/>
            </a:pPr>
            <a:r>
              <a:rPr lang="en-GB" sz="1000" b="0" dirty="0"/>
              <a:t>Consume the generated model</a:t>
            </a:r>
          </a:p>
          <a:p>
            <a:pPr marL="228600" lvl="0" indent="-228600" rtl="0">
              <a:buAutoNum type="arabicPeriod"/>
            </a:pPr>
            <a:endParaRPr lang="en-GB" sz="1000" b="0" dirty="0"/>
          </a:p>
          <a:p>
            <a:pPr marL="0" marR="0" lvl="0" indent="0" algn="l" defTabSz="932742" rtl="0" eaLnBrk="1" fontAlgn="auto" latinLnBrk="0" hangingPunct="1">
              <a:lnSpc>
                <a:spcPct val="90000"/>
              </a:lnSpc>
              <a:spcBef>
                <a:spcPts val="0"/>
              </a:spcBef>
              <a:spcAft>
                <a:spcPts val="340"/>
              </a:spcAft>
              <a:buClrTx/>
              <a:buSzTx/>
              <a:buFontTx/>
              <a:buNone/>
              <a:tabLst/>
              <a:defRPr/>
            </a:pPr>
            <a:r>
              <a:rPr lang="en-GB" sz="1000" b="0" dirty="0"/>
              <a:t>Step 2. Build and Modelling the images is an iterative process, that can be used to improve the models prediction performance. There are addition ways in which you can improve the classifier as found at the following link:</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GB" sz="1000" b="0" dirty="0"/>
          </a:p>
          <a:p>
            <a:pPr marL="0" marR="0" lvl="0" indent="0" algn="l" defTabSz="932742" rtl="0" eaLnBrk="1" fontAlgn="auto" latinLnBrk="0" hangingPunct="1">
              <a:lnSpc>
                <a:spcPct val="90000"/>
              </a:lnSpc>
              <a:spcBef>
                <a:spcPts val="0"/>
              </a:spcBef>
              <a:spcAft>
                <a:spcPts val="340"/>
              </a:spcAft>
              <a:buClrTx/>
              <a:buSzTx/>
              <a:buFontTx/>
              <a:buNone/>
              <a:tabLst/>
              <a:defRPr/>
            </a:pPr>
            <a:r>
              <a:rPr lang="en-GB" sz="1000" b="0" dirty="0"/>
              <a:t>https://docs.microsoft.com/en-gb/azure/cognitive-services/custom-vision-service/getting-started-improving-your-classifier</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GB" sz="1000" b="0" dirty="0"/>
          </a:p>
          <a:p>
            <a:pPr marL="0" marR="0" lvl="0" indent="0" algn="l" defTabSz="932742" rtl="0" eaLnBrk="1" fontAlgn="auto" latinLnBrk="0" hangingPunct="1">
              <a:lnSpc>
                <a:spcPct val="90000"/>
              </a:lnSpc>
              <a:spcBef>
                <a:spcPts val="0"/>
              </a:spcBef>
              <a:spcAft>
                <a:spcPts val="340"/>
              </a:spcAft>
              <a:buClrTx/>
              <a:buSzTx/>
              <a:buFontTx/>
              <a:buNone/>
              <a:tabLst/>
              <a:defRPr/>
            </a:pPr>
            <a:r>
              <a:rPr lang="en-GB" sz="1000" b="0" dirty="0"/>
              <a:t>In addition, this work can be performed graphically at the http://</a:t>
            </a:r>
            <a:r>
              <a:rPr lang="en-US" sz="1000" b="0" dirty="0">
                <a:cs typeface="Segoe UI Light" panose="020B0502040204020203" pitchFamily="34" charset="0"/>
              </a:rPr>
              <a:t>c</a:t>
            </a:r>
            <a:r>
              <a:rPr lang="en-US" sz="1000" dirty="0">
                <a:cs typeface="Segoe UI Light" panose="020B0502040204020203" pitchFamily="34" charset="0"/>
              </a:rPr>
              <a:t>omputervision.ai website, or programmatically through the Custom Vision APIs </a:t>
            </a:r>
            <a:r>
              <a:rPr lang="en-GB" sz="1000" b="0" dirty="0"/>
              <a:t> </a:t>
            </a:r>
          </a:p>
          <a:p>
            <a:pPr marL="0" lvl="0" indent="0" rtl="0">
              <a:buNone/>
            </a:pPr>
            <a:endParaRPr lang="en-US" sz="1000" b="0"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4"/>
          </p:nvPr>
        </p:nvSpPr>
        <p:spPr>
          <a:xfrm>
            <a:off x="0" y="9121140"/>
            <a:ext cx="6315456" cy="373762"/>
          </a:xfrm>
        </p:spPr>
        <p:txBody>
          <a:bodyPr/>
          <a:lstStyle/>
          <a:p>
            <a:pPr defTabSz="966294"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7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313274545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74320" y="4217670"/>
            <a:ext cx="6297930" cy="4594860"/>
          </a:xfrm>
        </p:spPr>
        <p:txBody>
          <a:bodyPr/>
          <a:lstStyle/>
          <a:p>
            <a:pPr rtl="0"/>
            <a:r>
              <a:rPr lang="en-GB" sz="1000" dirty="0"/>
              <a:t>To use the Custom Vision Service you must first build a classifier.</a:t>
            </a:r>
          </a:p>
          <a:p>
            <a:pPr rtl="0"/>
            <a:endParaRPr lang="en-GB" sz="1000" b="1" dirty="0"/>
          </a:p>
          <a:p>
            <a:pPr rtl="0"/>
            <a:r>
              <a:rPr lang="en-GB" sz="1000" b="1" dirty="0"/>
              <a:t>Prerequisites</a:t>
            </a:r>
          </a:p>
          <a:p>
            <a:pPr rtl="0"/>
            <a:r>
              <a:rPr lang="en-GB" sz="1000" dirty="0"/>
              <a:t>To build a classifier, you must first have:</a:t>
            </a:r>
          </a:p>
          <a:p>
            <a:pPr rtl="0"/>
            <a:endParaRPr lang="en-GB" sz="1000" dirty="0"/>
          </a:p>
          <a:p>
            <a:pPr marL="171450" indent="-171450" rtl="0">
              <a:buFont typeface="Arial" panose="020B0604020202020204" pitchFamily="34" charset="0"/>
              <a:buChar char="•"/>
            </a:pPr>
            <a:r>
              <a:rPr lang="en-GB" sz="1000" dirty="0"/>
              <a:t>A valid </a:t>
            </a:r>
            <a:r>
              <a:rPr lang="en-GB" sz="1000" dirty="0">
                <a:hlinkClick r:id="rId3"/>
              </a:rPr>
              <a:t>Microsoft Account</a:t>
            </a:r>
            <a:r>
              <a:rPr lang="en-GB" sz="1000" dirty="0"/>
              <a:t> or an Azure Active Directory </a:t>
            </a:r>
            <a:r>
              <a:rPr lang="en-GB" sz="1000" dirty="0" err="1"/>
              <a:t>OrgID</a:t>
            </a:r>
            <a:r>
              <a:rPr lang="en-GB" sz="1000" dirty="0"/>
              <a:t> ("work or school account"), so you can sign into customvision.ai and get started. Note that </a:t>
            </a:r>
            <a:r>
              <a:rPr lang="en-GB" sz="1000" dirty="0" err="1"/>
              <a:t>OrgID</a:t>
            </a:r>
            <a:r>
              <a:rPr lang="en-GB" sz="1000" dirty="0"/>
              <a:t> login for AAD users from </a:t>
            </a:r>
            <a:r>
              <a:rPr lang="en-GB" sz="1000" dirty="0">
                <a:hlinkClick r:id="rId4"/>
              </a:rPr>
              <a:t>national clouds</a:t>
            </a:r>
            <a:r>
              <a:rPr lang="en-GB" sz="1000" dirty="0"/>
              <a:t> is not currently supported.</a:t>
            </a:r>
          </a:p>
          <a:p>
            <a:pPr marL="171450" indent="-171450" rtl="0">
              <a:buFont typeface="Arial" panose="020B0604020202020204" pitchFamily="34" charset="0"/>
              <a:buChar char="•"/>
            </a:pPr>
            <a:r>
              <a:rPr lang="en-GB" sz="1000" dirty="0"/>
              <a:t>A series of images to train your classifier (minimum of 30 images per tag).</a:t>
            </a:r>
          </a:p>
          <a:p>
            <a:pPr marL="171450" indent="-171450" rtl="0">
              <a:buFont typeface="Arial" panose="020B0604020202020204" pitchFamily="34" charset="0"/>
              <a:buChar char="•"/>
            </a:pPr>
            <a:r>
              <a:rPr lang="en-GB" sz="1000" dirty="0"/>
              <a:t>A few images to test your classifier after the classifier is trained.</a:t>
            </a:r>
          </a:p>
          <a:p>
            <a:pPr marL="0" indent="0">
              <a:buFont typeface="+mj-lt"/>
              <a:buNone/>
            </a:pPr>
            <a:endParaRPr lang="en-GB" sz="1000" b="0" dirty="0"/>
          </a:p>
          <a:p>
            <a:pPr marL="0" indent="0">
              <a:buFont typeface="+mj-lt"/>
              <a:buNone/>
            </a:pPr>
            <a:r>
              <a:rPr lang="en-GB" sz="1000" dirty="0"/>
              <a:t>Reference:</a:t>
            </a:r>
            <a:endParaRPr lang="en-GB" sz="1000" b="0" dirty="0"/>
          </a:p>
          <a:p>
            <a:pPr marL="0" indent="0">
              <a:buFont typeface="+mj-lt"/>
              <a:buNone/>
            </a:pPr>
            <a:endParaRPr lang="en-GB" sz="1000" b="0" dirty="0"/>
          </a:p>
          <a:p>
            <a:pPr marL="0" indent="0">
              <a:buFont typeface="+mj-lt"/>
              <a:buNone/>
            </a:pPr>
            <a:r>
              <a:rPr lang="en-US" sz="1000" b="0" dirty="0"/>
              <a:t>https://docs.microsoft.com/en-gb/azure/cognitive-services/custom-vision-service/getting-started-build-a-classifier</a:t>
            </a: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4"/>
          </p:nvPr>
        </p:nvSpPr>
        <p:spPr>
          <a:xfrm>
            <a:off x="0" y="9121140"/>
            <a:ext cx="6315456" cy="373762"/>
          </a:xfrm>
        </p:spPr>
        <p:txBody>
          <a:bodyPr/>
          <a:lstStyle/>
          <a:p>
            <a:pPr defTabSz="966294"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7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65788721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defTabSz="986002">
              <a:spcAft>
                <a:spcPts val="359"/>
              </a:spcAft>
              <a:buFont typeface="+mj-lt"/>
              <a:buNone/>
              <a:defRPr/>
            </a:pPr>
            <a:r>
              <a:rPr lang="en-US" sz="900" dirty="0">
                <a:cs typeface="Segoe UI Light" panose="020B0502040204020203" pitchFamily="34" charset="0"/>
              </a:rPr>
              <a:t>In this demonstration, you will see how to use the Computervision.ai website to classify, train and predict images that are uploaded to the website.</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Machine Learning, Analytics, &amp; Data Science Conference</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76134C8-AC9E-49DD-B3D6-722B1A93F18D}"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0/2018 3:28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6707957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dirty="0"/>
              <a:t>Custom Vision Tutorial</a:t>
            </a:r>
          </a:p>
          <a:p>
            <a:endParaRPr lang="en-US" sz="1200" b="1" dirty="0"/>
          </a:p>
          <a:p>
            <a:r>
              <a:rPr lang="en-US" sz="1200" dirty="0"/>
              <a:t>Explore a basic Windows application that uses the Computer Vision API to create a project; add tags to it; upload images; train the project; obtain the default prediction endpoint URL for the project; and use the endpoint to programmatically test an image. You can use this open source example as a template for building your own app for Windows using the Custom Vision API.</a:t>
            </a:r>
          </a:p>
          <a:p>
            <a:endParaRPr lang="en-US" sz="1200" dirty="0"/>
          </a:p>
          <a:p>
            <a:r>
              <a:rPr lang="en-US" sz="1200" b="1" dirty="0"/>
              <a:t>Prerequisites</a:t>
            </a:r>
          </a:p>
          <a:p>
            <a:endParaRPr lang="en-US" sz="1200" b="1" dirty="0"/>
          </a:p>
          <a:p>
            <a:r>
              <a:rPr lang="en-US" sz="1200" b="1" dirty="0"/>
              <a:t>Platform requirements</a:t>
            </a:r>
          </a:p>
          <a:p>
            <a:r>
              <a:rPr lang="en-US" sz="1200" dirty="0"/>
              <a:t>Access to a browser and a login to the </a:t>
            </a:r>
            <a:r>
              <a:rPr lang="en-US" sz="1200" b="1" dirty="0"/>
              <a:t>https://customvision.ai </a:t>
            </a:r>
            <a:r>
              <a:rPr lang="en-US" sz="1200" dirty="0"/>
              <a:t>website</a:t>
            </a:r>
          </a:p>
          <a:p>
            <a:br>
              <a:rPr lang="en-US" sz="1200" b="1" dirty="0"/>
            </a:br>
            <a:r>
              <a:rPr lang="en-US" sz="1200" b="1" dirty="0"/>
              <a:t>Lab: Using a Custom Vision Application</a:t>
            </a:r>
          </a:p>
          <a:p>
            <a:endParaRPr lang="en-US" sz="1200" b="1" dirty="0"/>
          </a:p>
          <a:p>
            <a:r>
              <a:rPr lang="en-US" sz="1200" b="1" dirty="0"/>
              <a:t>Step 1: Log into the customvision.ai website and create a new project named Sport Location, and upload images</a:t>
            </a:r>
          </a:p>
          <a:p>
            <a:pPr marL="228600" indent="-228600">
              <a:buFont typeface="+mj-lt"/>
              <a:buAutoNum type="arabicPeriod"/>
            </a:pPr>
            <a:r>
              <a:rPr lang="en-US" sz="1200" dirty="0"/>
              <a:t>Open up your </a:t>
            </a:r>
            <a:r>
              <a:rPr lang="en-US" sz="1200" b="1" dirty="0"/>
              <a:t>browser</a:t>
            </a:r>
            <a:r>
              <a:rPr lang="en-US" sz="1200" dirty="0"/>
              <a:t>.</a:t>
            </a:r>
          </a:p>
          <a:p>
            <a:pPr marL="228600" indent="-228600">
              <a:buFont typeface="+mj-lt"/>
              <a:buAutoNum type="arabicPeriod"/>
            </a:pPr>
            <a:r>
              <a:rPr lang="en-US" sz="1200" dirty="0"/>
              <a:t>type in </a:t>
            </a:r>
            <a:r>
              <a:rPr lang="en-US" sz="1200" b="1" dirty="0"/>
              <a:t>https://customvision.ai</a:t>
            </a:r>
            <a:r>
              <a:rPr lang="en-US" sz="1200" dirty="0"/>
              <a:t> and </a:t>
            </a:r>
            <a:r>
              <a:rPr lang="en-US" sz="1200" b="1" dirty="0"/>
              <a:t>sign in</a:t>
            </a:r>
            <a:r>
              <a:rPr lang="en-US" sz="1200" dirty="0"/>
              <a:t> or </a:t>
            </a:r>
            <a:r>
              <a:rPr lang="en-US" sz="1200" b="1" dirty="0"/>
              <a:t>register</a:t>
            </a:r>
            <a:r>
              <a:rPr lang="en-US" sz="1200" dirty="0"/>
              <a:t>.</a:t>
            </a:r>
          </a:p>
          <a:p>
            <a:pPr marL="228600" indent="-228600">
              <a:buFont typeface="+mj-lt"/>
              <a:buAutoNum type="arabicPeriod"/>
            </a:pPr>
            <a:r>
              <a:rPr lang="en-US" sz="1200" dirty="0"/>
              <a:t>Click on the icon for </a:t>
            </a:r>
            <a:r>
              <a:rPr lang="en-US" sz="1200" b="1" dirty="0"/>
              <a:t>New Project</a:t>
            </a:r>
            <a:endParaRPr lang="en-US" sz="1200" dirty="0"/>
          </a:p>
          <a:p>
            <a:pPr marL="228600" indent="-228600">
              <a:buFont typeface="+mj-lt"/>
              <a:buAutoNum type="arabicPeriod"/>
            </a:pPr>
            <a:r>
              <a:rPr lang="en-US" sz="1200" dirty="0"/>
              <a:t>In the New Project dialog box, type the name </a:t>
            </a:r>
            <a:r>
              <a:rPr lang="en-US" sz="1200" b="1" dirty="0"/>
              <a:t>Sports Locations</a:t>
            </a:r>
            <a:r>
              <a:rPr lang="en-US" sz="1200" dirty="0"/>
              <a:t>, and click on </a:t>
            </a:r>
            <a:r>
              <a:rPr lang="en-US" sz="1200" b="1" dirty="0"/>
              <a:t>Create Projec</a:t>
            </a:r>
            <a:r>
              <a:rPr lang="en-US" sz="1200" dirty="0"/>
              <a:t>t.</a:t>
            </a:r>
          </a:p>
          <a:p>
            <a:pPr marL="228600" indent="-228600">
              <a:buFont typeface="+mj-lt"/>
              <a:buAutoNum type="arabicPeriod"/>
            </a:pPr>
            <a:r>
              <a:rPr lang="en-US" sz="1200" dirty="0"/>
              <a:t>In the web page, click on the button </a:t>
            </a:r>
            <a:r>
              <a:rPr lang="en-US" sz="1200" b="1" dirty="0"/>
              <a:t>Add images</a:t>
            </a:r>
            <a:r>
              <a:rPr lang="en-US" sz="1200" dirty="0"/>
              <a:t>, then click on the button </a:t>
            </a:r>
            <a:r>
              <a:rPr lang="en-US" sz="1200" b="1" dirty="0"/>
              <a:t>Browse local files</a:t>
            </a:r>
            <a:r>
              <a:rPr lang="en-US" sz="1200" dirty="0"/>
              <a:t>. browse to the location </a:t>
            </a:r>
            <a:r>
              <a:rPr lang="en-US" sz="1200" b="1" dirty="0"/>
              <a:t>\Lab\Starter\Images</a:t>
            </a:r>
            <a:r>
              <a:rPr lang="en-US" sz="1200" dirty="0"/>
              <a:t>. select all the images and click on </a:t>
            </a:r>
            <a:r>
              <a:rPr lang="en-US" sz="1200" b="1" dirty="0"/>
              <a:t>Open</a:t>
            </a:r>
            <a:r>
              <a:rPr lang="en-US" sz="1200" dirty="0"/>
              <a:t>.</a:t>
            </a:r>
          </a:p>
          <a:p>
            <a:pPr marL="228600" indent="-228600">
              <a:buFont typeface="+mj-lt"/>
              <a:buAutoNum type="arabicPeriod"/>
            </a:pPr>
            <a:r>
              <a:rPr lang="en-US" sz="1200" dirty="0"/>
              <a:t>Click on </a:t>
            </a:r>
            <a:r>
              <a:rPr lang="en-US" sz="1200" b="1" dirty="0"/>
              <a:t>Upload 20 files.</a:t>
            </a:r>
            <a:endParaRPr lang="en-US" sz="1200" dirty="0"/>
          </a:p>
          <a:p>
            <a:pPr marL="228600" indent="-228600">
              <a:buFont typeface="+mj-lt"/>
              <a:buAutoNum type="arabicPeriod"/>
            </a:pPr>
            <a:r>
              <a:rPr lang="en-US" sz="1200" dirty="0"/>
              <a:t>Click </a:t>
            </a:r>
            <a:r>
              <a:rPr lang="en-US" sz="1200" b="1" dirty="0"/>
              <a:t>Done</a:t>
            </a:r>
            <a:r>
              <a:rPr lang="en-US" sz="1200" dirty="0"/>
              <a:t>.</a:t>
            </a:r>
          </a:p>
          <a:p>
            <a:endParaRPr lang="en-US" sz="1200" b="1" dirty="0"/>
          </a:p>
          <a:p>
            <a:r>
              <a:rPr lang="en-US" sz="1200" b="1" dirty="0"/>
              <a:t>Step 2: Add tags to the images in the project</a:t>
            </a:r>
          </a:p>
          <a:p>
            <a:pPr marL="228600" indent="-228600">
              <a:buFont typeface="+mj-lt"/>
              <a:buAutoNum type="arabicPeriod"/>
            </a:pPr>
            <a:r>
              <a:rPr lang="en-US" sz="1200" dirty="0"/>
              <a:t>In the webpage, click on the </a:t>
            </a:r>
            <a:r>
              <a:rPr lang="en-US" sz="1200" b="1" dirty="0"/>
              <a:t>check box</a:t>
            </a:r>
            <a:r>
              <a:rPr lang="en-US" sz="1200" dirty="0"/>
              <a:t> next to </a:t>
            </a:r>
            <a:r>
              <a:rPr lang="en-US" sz="1200" b="1" dirty="0"/>
              <a:t>untagged.</a:t>
            </a:r>
            <a:endParaRPr lang="en-US" sz="1200" dirty="0"/>
          </a:p>
          <a:p>
            <a:pPr marL="228600" indent="-228600">
              <a:buFont typeface="+mj-lt"/>
              <a:buAutoNum type="arabicPeriod"/>
            </a:pPr>
            <a:r>
              <a:rPr lang="en-US" sz="1200" dirty="0"/>
              <a:t>Hover over a picture that looks like a swimming pool, and click on the </a:t>
            </a:r>
            <a:r>
              <a:rPr lang="en-US" sz="1200" b="1" dirty="0"/>
              <a:t>tick</a:t>
            </a:r>
            <a:r>
              <a:rPr lang="en-US" sz="1200" dirty="0"/>
              <a:t> that appears in the picture. </a:t>
            </a:r>
            <a:r>
              <a:rPr lang="en-US" sz="1200" b="1" dirty="0"/>
              <a:t>Repeat for each swimming pool image</a:t>
            </a:r>
            <a:r>
              <a:rPr lang="en-US" sz="1200" dirty="0"/>
              <a:t>.</a:t>
            </a:r>
          </a:p>
          <a:p>
            <a:pPr marL="228600" indent="-228600">
              <a:buFont typeface="+mj-lt"/>
              <a:buAutoNum type="arabicPeriod"/>
            </a:pPr>
            <a:r>
              <a:rPr lang="en-US" sz="1200" dirty="0"/>
              <a:t>On the toolbar, click on </a:t>
            </a:r>
            <a:r>
              <a:rPr lang="en-US" sz="1200" b="1" dirty="0"/>
              <a:t>Tag images.</a:t>
            </a:r>
            <a:endParaRPr lang="en-US" sz="1200" dirty="0"/>
          </a:p>
          <a:p>
            <a:pPr marL="228600" indent="-228600">
              <a:buFont typeface="+mj-lt"/>
              <a:buAutoNum type="arabicPeriod"/>
            </a:pPr>
            <a:r>
              <a:rPr lang="en-US" sz="1200" dirty="0"/>
              <a:t>In the Tag Images dialog box, in the text box, type </a:t>
            </a:r>
            <a:r>
              <a:rPr lang="en-US" sz="1200" b="1" dirty="0"/>
              <a:t>Pools</a:t>
            </a:r>
            <a:r>
              <a:rPr lang="en-US" sz="1200" dirty="0"/>
              <a:t>, and then click on the </a:t>
            </a:r>
            <a:r>
              <a:rPr lang="en-US" sz="1200" b="1" dirty="0"/>
              <a:t>plus icon</a:t>
            </a:r>
            <a:r>
              <a:rPr lang="en-US" sz="1200" dirty="0"/>
              <a:t> and click on </a:t>
            </a:r>
            <a:r>
              <a:rPr lang="en-US" sz="1200" b="1" dirty="0"/>
              <a:t>Save and close</a:t>
            </a:r>
            <a:r>
              <a:rPr lang="en-US" sz="1200" dirty="0"/>
              <a:t>.</a:t>
            </a:r>
          </a:p>
          <a:p>
            <a:pPr marL="228600" indent="-228600">
              <a:buFont typeface="+mj-lt"/>
              <a:buAutoNum type="arabicPeriod"/>
            </a:pPr>
            <a:r>
              <a:rPr lang="en-US" sz="1200" dirty="0"/>
              <a:t>Hover over a picture that looks like an athletics track, and click on the </a:t>
            </a:r>
            <a:r>
              <a:rPr lang="en-US" sz="1200" b="1" dirty="0"/>
              <a:t>tick</a:t>
            </a:r>
            <a:r>
              <a:rPr lang="en-US" sz="1200" dirty="0"/>
              <a:t> that appears in the picture. </a:t>
            </a:r>
            <a:r>
              <a:rPr lang="en-US" sz="1200" b="1" dirty="0"/>
              <a:t>Repeat for each athletics track image</a:t>
            </a:r>
            <a:r>
              <a:rPr lang="en-US" sz="1200" dirty="0"/>
              <a:t>.</a:t>
            </a:r>
          </a:p>
          <a:p>
            <a:pPr marL="228600" indent="-228600">
              <a:buFont typeface="+mj-lt"/>
              <a:buAutoNum type="arabicPeriod"/>
            </a:pPr>
            <a:r>
              <a:rPr lang="en-US" sz="1200" dirty="0"/>
              <a:t>On the toolbar, click on </a:t>
            </a:r>
            <a:r>
              <a:rPr lang="en-US" sz="1200" b="1" dirty="0"/>
              <a:t>Tag images.</a:t>
            </a:r>
            <a:endParaRPr lang="en-US" sz="1200" dirty="0"/>
          </a:p>
          <a:p>
            <a:pPr marL="228600" indent="-228600">
              <a:buFont typeface="+mj-lt"/>
              <a:buAutoNum type="arabicPeriod"/>
            </a:pPr>
            <a:r>
              <a:rPr lang="en-US" sz="1200" dirty="0"/>
              <a:t>In the Tag Images dialog box, in the text box, type </a:t>
            </a:r>
            <a:r>
              <a:rPr lang="en-US" sz="1200" b="1" dirty="0"/>
              <a:t>Tracks</a:t>
            </a:r>
            <a:r>
              <a:rPr lang="en-US" sz="1200" dirty="0"/>
              <a:t>, and then click on the </a:t>
            </a:r>
            <a:r>
              <a:rPr lang="en-US" sz="1200" b="1" dirty="0"/>
              <a:t>plus icon</a:t>
            </a:r>
            <a:r>
              <a:rPr lang="en-US" sz="1200" dirty="0"/>
              <a:t> and click on </a:t>
            </a:r>
            <a:r>
              <a:rPr lang="en-US" sz="1200" b="1" dirty="0"/>
              <a:t>Save and close.</a:t>
            </a:r>
            <a:endParaRPr lang="en-US" sz="1200" dirty="0"/>
          </a:p>
          <a:p>
            <a:endParaRPr lang="en-US" sz="1200" b="1" dirty="0"/>
          </a:p>
          <a:p>
            <a:r>
              <a:rPr lang="en-US" sz="1200" b="1" dirty="0"/>
              <a:t>Step 3: Train the project</a:t>
            </a:r>
          </a:p>
          <a:p>
            <a:pPr marL="228600" indent="-228600">
              <a:buFont typeface="+mj-lt"/>
              <a:buAutoNum type="arabicPeriod"/>
            </a:pPr>
            <a:r>
              <a:rPr lang="en-US" sz="1200" dirty="0"/>
              <a:t>In the web page, at the top right, click on the </a:t>
            </a:r>
            <a:r>
              <a:rPr lang="en-US" sz="1200" b="1" dirty="0"/>
              <a:t>green button</a:t>
            </a:r>
            <a:r>
              <a:rPr lang="en-US" sz="1200" dirty="0"/>
              <a:t> that states </a:t>
            </a:r>
            <a:r>
              <a:rPr lang="en-US" sz="1200" b="1" dirty="0"/>
              <a:t>Train.</a:t>
            </a:r>
            <a:endParaRPr lang="en-US" sz="1200" dirty="0"/>
          </a:p>
          <a:p>
            <a:pPr marL="228600" indent="-228600">
              <a:buFont typeface="+mj-lt"/>
              <a:buAutoNum type="arabicPeriod"/>
            </a:pPr>
            <a:r>
              <a:rPr lang="en-US" sz="1200" dirty="0"/>
              <a:t>The </a:t>
            </a:r>
            <a:r>
              <a:rPr lang="en-US" sz="1200" b="1" dirty="0"/>
              <a:t>Performance</a:t>
            </a:r>
            <a:r>
              <a:rPr lang="en-US" sz="1200" dirty="0"/>
              <a:t> web page shows a title of </a:t>
            </a:r>
            <a:r>
              <a:rPr lang="en-US" sz="1200" b="1" dirty="0"/>
              <a:t>iteration 1</a:t>
            </a:r>
            <a:r>
              <a:rPr lang="en-US" sz="1200" dirty="0"/>
              <a:t> with figures pertaining to the precision and recall values of the trained model.</a:t>
            </a:r>
          </a:p>
          <a:p>
            <a:endParaRPr lang="en-US" sz="1200" b="1" dirty="0"/>
          </a:p>
          <a:p>
            <a:r>
              <a:rPr lang="en-US" sz="1200" b="1" dirty="0"/>
              <a:t>Step 4: Perform a prediction</a:t>
            </a:r>
          </a:p>
          <a:p>
            <a:pPr marL="228600" indent="-228600">
              <a:buFont typeface="+mj-lt"/>
              <a:buAutoNum type="arabicPeriod"/>
            </a:pPr>
            <a:r>
              <a:rPr lang="en-US" sz="1200" dirty="0"/>
              <a:t>In the web page, at the top right, click on the </a:t>
            </a:r>
            <a:r>
              <a:rPr lang="en-US" sz="1200" b="1" dirty="0"/>
              <a:t>blue button</a:t>
            </a:r>
            <a:r>
              <a:rPr lang="en-US" sz="1200" dirty="0"/>
              <a:t> that states </a:t>
            </a:r>
            <a:r>
              <a:rPr lang="en-US" sz="1200" b="1" dirty="0"/>
              <a:t>Quick Test.</a:t>
            </a:r>
            <a:endParaRPr lang="en-US" sz="1200" dirty="0"/>
          </a:p>
          <a:p>
            <a:pPr marL="228600" indent="-228600">
              <a:buFont typeface="+mj-lt"/>
              <a:buAutoNum type="arabicPeriod"/>
            </a:pPr>
            <a:r>
              <a:rPr lang="en-US" sz="1200" dirty="0"/>
              <a:t>In the Quick Test dialog box, click on Browse local files, browse to the location </a:t>
            </a:r>
            <a:r>
              <a:rPr lang="en-US" sz="1200" b="1" dirty="0"/>
              <a:t>\Lab\Starter\Test</a:t>
            </a:r>
            <a:r>
              <a:rPr lang="en-US" sz="1200" dirty="0"/>
              <a:t>. select the image </a:t>
            </a:r>
            <a:r>
              <a:rPr lang="en-US" sz="1200" b="1" dirty="0"/>
              <a:t>Sport.jpg</a:t>
            </a:r>
            <a:r>
              <a:rPr lang="en-US" sz="1200" dirty="0"/>
              <a:t> and click on </a:t>
            </a:r>
            <a:r>
              <a:rPr lang="en-US" sz="1200" b="1" dirty="0"/>
              <a:t>Open</a:t>
            </a:r>
            <a:r>
              <a:rPr lang="en-US" sz="1200" dirty="0"/>
              <a:t>.</a:t>
            </a:r>
          </a:p>
          <a:p>
            <a:pPr marL="228600" indent="-228600">
              <a:buFont typeface="+mj-lt"/>
              <a:buAutoNum type="arabicPeriod"/>
            </a:pPr>
            <a:r>
              <a:rPr lang="en-US" sz="1200" dirty="0"/>
              <a:t>The result will appear after about 10 seconds confirming that the picture is a </a:t>
            </a:r>
            <a:r>
              <a:rPr lang="en-US" sz="1200" b="1" dirty="0"/>
              <a:t>Pool</a:t>
            </a:r>
            <a:r>
              <a:rPr lang="en-US" sz="1200" dirty="0"/>
              <a:t> with </a:t>
            </a:r>
            <a:r>
              <a:rPr lang="en-US" sz="1200" b="1" dirty="0"/>
              <a:t>100% Probability</a:t>
            </a:r>
            <a:endParaRPr lang="en-US" sz="1200" dirty="0"/>
          </a:p>
          <a:p>
            <a:pPr marL="0" indent="0" defTabSz="986002">
              <a:spcAft>
                <a:spcPts val="359"/>
              </a:spcAft>
              <a:buFont typeface="+mj-lt"/>
              <a:buNone/>
              <a:defRPr/>
            </a:pPr>
            <a:endParaRPr lang="en-US" sz="1200" dirty="0">
              <a:cs typeface="Segoe UI Light" panose="020B0502040204020203" pitchFamily="34" charset="0"/>
            </a:endParaRPr>
          </a:p>
        </p:txBody>
      </p:sp>
      <p:sp>
        <p:nvSpPr>
          <p:cNvPr id="5" name="Slide Number Placeholder 4"/>
          <p:cNvSpPr>
            <a:spLocks noGrp="1"/>
          </p:cNvSpPr>
          <p:nvPr>
            <p:ph type="sldNum" sz="quarter" idx="11"/>
          </p:nvPr>
        </p:nvSpPr>
        <p:spPr/>
        <p:txBody>
          <a:bodyPr/>
          <a:lstStyle/>
          <a:p>
            <a:pPr defTabSz="966612">
              <a:defRPr/>
            </a:pPr>
            <a:fld id="{B4008EB6-D09E-4580-8CD6-DDB14511944F}" type="slidenum">
              <a:rPr lang="en-US" sz="1900" kern="0">
                <a:solidFill>
                  <a:prstClr val="black"/>
                </a:solidFill>
              </a:rPr>
              <a:pPr defTabSz="966612">
                <a:defRPr/>
              </a:pPr>
              <a:t>13</a:t>
            </a:fld>
            <a:endParaRPr lang="en-US" sz="1900" kern="0" dirty="0">
              <a:solidFill>
                <a:prstClr val="black"/>
              </a:solidFill>
            </a:endParaRPr>
          </a:p>
        </p:txBody>
      </p:sp>
      <p:sp>
        <p:nvSpPr>
          <p:cNvPr id="6" name="Footer Placeholder 4"/>
          <p:cNvSpPr>
            <a:spLocks noGrp="1"/>
          </p:cNvSpPr>
          <p:nvPr>
            <p:ph type="ftr" sz="quarter" idx="4"/>
          </p:nvPr>
        </p:nvSpPr>
        <p:spPr>
          <a:xfrm>
            <a:off x="0" y="9121140"/>
            <a:ext cx="6315456" cy="373762"/>
          </a:xfrm>
        </p:spPr>
        <p:txBody>
          <a:bodyPr/>
          <a:lstStyle/>
          <a:p>
            <a:pPr defTabSz="966294"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7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397265931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is section of the course will cover:</a:t>
            </a:r>
          </a:p>
          <a:p>
            <a:endParaRPr lang="en-GB" dirty="0"/>
          </a:p>
          <a:p>
            <a:pPr marL="181240" indent="-181240">
              <a:buFont typeface="Arial" panose="020B0604020202020204" pitchFamily="34" charset="0"/>
              <a:buChar char="•"/>
            </a:pPr>
            <a:r>
              <a:rPr lang="en-GB" dirty="0"/>
              <a:t>Types of Custom Vision Client Library’s</a:t>
            </a:r>
          </a:p>
          <a:p>
            <a:pPr marL="181240" indent="-181240">
              <a:buFont typeface="Arial" panose="020B0604020202020204" pitchFamily="34" charset="0"/>
              <a:buChar char="•"/>
            </a:pPr>
            <a:r>
              <a:rPr lang="en-GB" dirty="0"/>
              <a:t>Obtaining a training key</a:t>
            </a:r>
          </a:p>
          <a:p>
            <a:pPr marL="181240" indent="-181240">
              <a:buFont typeface="Arial" panose="020B0604020202020204" pitchFamily="34" charset="0"/>
              <a:buChar char="•"/>
            </a:pPr>
            <a:r>
              <a:rPr lang="en-GB" dirty="0"/>
              <a:t>Creating stores in memory</a:t>
            </a:r>
          </a:p>
          <a:p>
            <a:pPr marL="181240" indent="-181240">
              <a:buFont typeface="Arial" panose="020B0604020202020204" pitchFamily="34" charset="0"/>
              <a:buChar char="•"/>
            </a:pPr>
            <a:r>
              <a:rPr lang="en-GB" dirty="0"/>
              <a:t>API instantiation and Credential Management</a:t>
            </a:r>
          </a:p>
          <a:p>
            <a:pPr marL="181240" indent="-181240">
              <a:buFont typeface="Arial" panose="020B0604020202020204" pitchFamily="34" charset="0"/>
              <a:buChar char="•"/>
            </a:pPr>
            <a:r>
              <a:rPr lang="en-GB" dirty="0"/>
              <a:t>Handling Credential Input</a:t>
            </a:r>
          </a:p>
          <a:p>
            <a:pPr marL="181240" indent="-181240">
              <a:buFont typeface="Arial" panose="020B0604020202020204" pitchFamily="34" charset="0"/>
              <a:buChar char="•"/>
            </a:pPr>
            <a:r>
              <a:rPr lang="en-GB" dirty="0"/>
              <a:t>Loading images into memory</a:t>
            </a:r>
          </a:p>
          <a:p>
            <a:pPr marL="181240" indent="-181240">
              <a:buFont typeface="Arial" panose="020B0604020202020204" pitchFamily="34" charset="0"/>
              <a:buChar char="•"/>
            </a:pPr>
            <a:r>
              <a:rPr lang="en-GB" dirty="0"/>
              <a:t>Creating a Project</a:t>
            </a:r>
          </a:p>
          <a:p>
            <a:pPr marL="181240" indent="-181240">
              <a:buFont typeface="Arial" panose="020B0604020202020204" pitchFamily="34" charset="0"/>
              <a:buChar char="•"/>
            </a:pPr>
            <a:r>
              <a:rPr lang="en-GB" dirty="0"/>
              <a:t>Managing Tagging</a:t>
            </a:r>
          </a:p>
          <a:p>
            <a:pPr marL="181240" indent="-181240">
              <a:buFont typeface="Arial" panose="020B0604020202020204" pitchFamily="34" charset="0"/>
              <a:buChar char="•"/>
            </a:pPr>
            <a:r>
              <a:rPr lang="en-GB" dirty="0"/>
              <a:t>Uploading Images</a:t>
            </a:r>
          </a:p>
          <a:p>
            <a:pPr marL="181240" indent="-181240">
              <a:buFont typeface="Arial" panose="020B0604020202020204" pitchFamily="34" charset="0"/>
              <a:buChar char="•"/>
            </a:pPr>
            <a:r>
              <a:rPr lang="en-GB" dirty="0"/>
              <a:t>Training the model</a:t>
            </a:r>
          </a:p>
          <a:p>
            <a:pPr marL="181240" indent="-181240">
              <a:buFont typeface="Arial" panose="020B0604020202020204" pitchFamily="34" charset="0"/>
              <a:buChar char="•"/>
            </a:pPr>
            <a:r>
              <a:rPr lang="en-GB" dirty="0"/>
              <a:t>Making Predictions</a:t>
            </a:r>
          </a:p>
          <a:p>
            <a:pPr marL="181240" indent="-181240">
              <a:buFont typeface="Arial" panose="020B0604020202020204" pitchFamily="34" charset="0"/>
              <a:buChar char="•"/>
            </a:pPr>
            <a:endParaRPr lang="en-GB" dirty="0"/>
          </a:p>
          <a:p>
            <a:pPr marL="181240" indent="-181240">
              <a:buFont typeface="Arial" panose="020B0604020202020204" pitchFamily="34" charset="0"/>
              <a:buChar char="•"/>
            </a:pPr>
            <a:endParaRPr lang="en-GB" dirty="0"/>
          </a:p>
          <a:p>
            <a:pPr marL="181240" indent="-181240">
              <a:buFont typeface="Arial" panose="020B0604020202020204" pitchFamily="34" charset="0"/>
              <a:buChar char="•"/>
            </a:pPr>
            <a:endParaRPr lang="en-GB" dirty="0"/>
          </a:p>
          <a:p>
            <a:endParaRPr lang="en-GB" dirty="0"/>
          </a:p>
        </p:txBody>
      </p:sp>
      <p:sp>
        <p:nvSpPr>
          <p:cNvPr id="5" name="Footer Placeholder 4"/>
          <p:cNvSpPr>
            <a:spLocks noGrp="1"/>
          </p:cNvSpPr>
          <p:nvPr>
            <p:ph type="ftr" sz="quarter" idx="11"/>
          </p:nvPr>
        </p:nvSpPr>
        <p:spPr/>
        <p:txBody>
          <a:bodyPr/>
          <a:lstStyle/>
          <a:p>
            <a:pPr defTabSz="966294"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7 Microsoft Corporation. All rights reserved. MICROSOFT MAKES NO WARRANTIES, EXPRESS, IMPLIED OR STATUTORY, AS TO THE INFORMATION IN THIS PRESENTATION.</a:t>
            </a:r>
          </a:p>
        </p:txBody>
      </p:sp>
      <p:sp>
        <p:nvSpPr>
          <p:cNvPr id="7" name="Slide Number Placeholder 6"/>
          <p:cNvSpPr>
            <a:spLocks noGrp="1"/>
          </p:cNvSpPr>
          <p:nvPr>
            <p:ph type="sldNum" sz="quarter" idx="13"/>
          </p:nvPr>
        </p:nvSpPr>
        <p:spPr/>
        <p:txBody>
          <a:bodyPr/>
          <a:lstStyle/>
          <a:p>
            <a:fld id="{B4008EB6-D09E-4580-8CD6-DDB14511944F}" type="slidenum">
              <a:rPr lang="en-US" smtClean="0"/>
              <a:pPr/>
              <a:t>14</a:t>
            </a:fld>
            <a:endParaRPr lang="en-US" dirty="0"/>
          </a:p>
        </p:txBody>
      </p:sp>
    </p:spTree>
    <p:extLst>
      <p:ext uri="{BB962C8B-B14F-4D97-AF65-F5344CB8AC3E}">
        <p14:creationId xmlns:p14="http://schemas.microsoft.com/office/powerpoint/2010/main" val="282392649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74320" y="4217670"/>
            <a:ext cx="6297930" cy="4594860"/>
          </a:xfrm>
        </p:spPr>
        <p:txBody>
          <a:bodyPr/>
          <a:lstStyle/>
          <a:p>
            <a:pPr marL="0" indent="0">
              <a:buFont typeface="+mj-lt"/>
              <a:buNone/>
            </a:pPr>
            <a:r>
              <a:rPr lang="en-US" sz="1000" b="0" dirty="0"/>
              <a:t>Two client libraries that can be used to develop a Custom Vision application:</a:t>
            </a:r>
          </a:p>
          <a:p>
            <a:pPr marL="0" indent="0">
              <a:buFont typeface="+mj-lt"/>
              <a:buNone/>
            </a:pPr>
            <a:endParaRPr lang="en-US" sz="1000" b="0" dirty="0"/>
          </a:p>
          <a:p>
            <a:pPr marL="0" indent="0">
              <a:buFont typeface="+mj-lt"/>
              <a:buNone/>
            </a:pPr>
            <a:r>
              <a:rPr lang="en-GB" sz="1000" b="1" dirty="0" err="1"/>
              <a:t>Microsoft.Cognitive.CustomVision.Training</a:t>
            </a:r>
            <a:endParaRPr lang="en-GB" sz="1000" b="1" dirty="0"/>
          </a:p>
          <a:p>
            <a:pPr marL="0" indent="0">
              <a:buFont typeface="+mj-lt"/>
              <a:buNone/>
            </a:pPr>
            <a:endParaRPr lang="en-GB" sz="1000" b="1" dirty="0"/>
          </a:p>
          <a:p>
            <a:pPr marL="0" indent="0">
              <a:buFont typeface="+mj-lt"/>
              <a:buNone/>
            </a:pPr>
            <a:r>
              <a:rPr lang="en-US" sz="1000" dirty="0"/>
              <a:t>Gives you full access to the Custom Vision training SDK, allowing you to </a:t>
            </a:r>
            <a:r>
              <a:rPr lang="en-US" sz="1000" dirty="0" err="1"/>
              <a:t>programatically</a:t>
            </a:r>
            <a:r>
              <a:rPr lang="en-US" sz="1000" dirty="0"/>
              <a:t> perform any management operations possible through the Custom Vision website. </a:t>
            </a:r>
          </a:p>
          <a:p>
            <a:pPr marL="0" indent="0">
              <a:buFont typeface="+mj-lt"/>
              <a:buNone/>
            </a:pPr>
            <a:endParaRPr lang="en-US" sz="1000" b="0" dirty="0"/>
          </a:p>
          <a:p>
            <a:pPr marL="0" indent="0">
              <a:buFont typeface="+mj-lt"/>
              <a:buNone/>
            </a:pPr>
            <a:r>
              <a:rPr lang="en-US" sz="1000" b="0" dirty="0"/>
              <a:t>Reference:</a:t>
            </a:r>
          </a:p>
          <a:p>
            <a:pPr marL="0" indent="0">
              <a:buFont typeface="+mj-lt"/>
              <a:buNone/>
            </a:pPr>
            <a:r>
              <a:rPr lang="en-US" sz="1000" b="0" dirty="0"/>
              <a:t>https://www.nuget.org/packages/Microsoft.Cognitive.CustomVision.Training/</a:t>
            </a:r>
          </a:p>
          <a:p>
            <a:pPr marL="0" indent="0">
              <a:buFont typeface="+mj-lt"/>
              <a:buNone/>
            </a:pPr>
            <a:endParaRPr lang="en-US" sz="1000" b="0" dirty="0"/>
          </a:p>
          <a:p>
            <a:pPr marL="0" indent="0">
              <a:buFont typeface="+mj-lt"/>
              <a:buNone/>
            </a:pPr>
            <a:r>
              <a:rPr lang="en-GB" sz="1000" b="1" dirty="0" err="1"/>
              <a:t>Microsoft.Cognitive.CustomVision.Prediction</a:t>
            </a:r>
            <a:endParaRPr lang="en-GB" sz="1000" b="1" dirty="0"/>
          </a:p>
          <a:p>
            <a:pPr marL="0" indent="0">
              <a:buFont typeface="+mj-lt"/>
              <a:buNone/>
            </a:pPr>
            <a:endParaRPr lang="en-GB" sz="1000" b="1" dirty="0"/>
          </a:p>
          <a:p>
            <a:pPr marL="0" indent="0">
              <a:buFont typeface="+mj-lt"/>
              <a:buNone/>
            </a:pPr>
            <a:r>
              <a:rPr lang="en-US" sz="1000" dirty="0"/>
              <a:t>Allows you to programmatically predict an image against a trained Custom Vision endpoint.</a:t>
            </a:r>
          </a:p>
          <a:p>
            <a:pPr marL="0" indent="0">
              <a:buFont typeface="+mj-lt"/>
              <a:buNone/>
            </a:pPr>
            <a:endParaRPr lang="en-US" sz="1000" b="1" dirty="0"/>
          </a:p>
          <a:p>
            <a:pPr marL="0" indent="0">
              <a:buFont typeface="+mj-lt"/>
              <a:buNone/>
            </a:pPr>
            <a:r>
              <a:rPr lang="en-US" sz="1000" b="0" dirty="0"/>
              <a:t>Reference:</a:t>
            </a:r>
            <a:endParaRPr lang="en-GB" sz="1000" b="1" dirty="0"/>
          </a:p>
          <a:p>
            <a:pPr marL="0" indent="0">
              <a:buFont typeface="+mj-lt"/>
              <a:buNone/>
            </a:pPr>
            <a:r>
              <a:rPr lang="en-US" sz="1000" b="0" dirty="0"/>
              <a:t>https://www.nuget.org/packages/Microsoft.Cognitive.CustomVision.Prediction/</a:t>
            </a: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4"/>
          </p:nvPr>
        </p:nvSpPr>
        <p:spPr>
          <a:xfrm>
            <a:off x="0" y="9121140"/>
            <a:ext cx="6315456" cy="373762"/>
          </a:xfrm>
        </p:spPr>
        <p:txBody>
          <a:bodyPr/>
          <a:lstStyle/>
          <a:p>
            <a:pPr defTabSz="966294"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7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231105185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74320" y="4217670"/>
            <a:ext cx="6297930" cy="4594860"/>
          </a:xfrm>
        </p:spPr>
        <p:txBody>
          <a:bodyPr/>
          <a:lstStyle/>
          <a:p>
            <a:pPr marL="0" indent="0">
              <a:buFont typeface="+mj-lt"/>
              <a:buNone/>
            </a:pPr>
            <a:r>
              <a:rPr lang="en-US" sz="1000" b="0" dirty="0"/>
              <a:t>A training key will be required to use the </a:t>
            </a:r>
            <a:r>
              <a:rPr lang="en-US" sz="1000" b="1" dirty="0"/>
              <a:t>https://customvision.ai</a:t>
            </a:r>
            <a:r>
              <a:rPr lang="en-US" sz="1000" dirty="0"/>
              <a:t> </a:t>
            </a:r>
            <a:r>
              <a:rPr lang="en-US" sz="1000" b="0" dirty="0"/>
              <a:t>service programmatically.</a:t>
            </a:r>
          </a:p>
          <a:p>
            <a:pPr marL="0" indent="0">
              <a:buFont typeface="+mj-lt"/>
              <a:buNone/>
            </a:pPr>
            <a:endParaRPr lang="en-US" sz="1000" b="0" dirty="0"/>
          </a:p>
          <a:p>
            <a:pPr marL="228600" indent="-228600">
              <a:buFont typeface="+mj-lt"/>
              <a:buAutoNum type="arabicPeriod"/>
            </a:pPr>
            <a:r>
              <a:rPr lang="en-US" sz="1000" dirty="0"/>
              <a:t>Open up your </a:t>
            </a:r>
            <a:r>
              <a:rPr lang="en-US" sz="1000" b="1" dirty="0"/>
              <a:t>browser</a:t>
            </a:r>
            <a:r>
              <a:rPr lang="en-US" sz="1000" dirty="0"/>
              <a:t>.</a:t>
            </a:r>
          </a:p>
          <a:p>
            <a:pPr marL="228600" indent="-228600">
              <a:buFont typeface="+mj-lt"/>
              <a:buAutoNum type="arabicPeriod"/>
            </a:pPr>
            <a:r>
              <a:rPr lang="en-US" sz="1000" dirty="0"/>
              <a:t>type in </a:t>
            </a:r>
            <a:r>
              <a:rPr lang="en-US" sz="1000" b="1" dirty="0"/>
              <a:t>https://customvision.ai</a:t>
            </a:r>
            <a:r>
              <a:rPr lang="en-US" sz="1000" dirty="0"/>
              <a:t> and </a:t>
            </a:r>
            <a:r>
              <a:rPr lang="en-US" sz="1000" b="1" dirty="0"/>
              <a:t>sign in</a:t>
            </a:r>
            <a:r>
              <a:rPr lang="en-US" sz="1000" dirty="0"/>
              <a:t> or </a:t>
            </a:r>
            <a:r>
              <a:rPr lang="en-US" sz="1000" b="1" dirty="0"/>
              <a:t>register</a:t>
            </a:r>
            <a:r>
              <a:rPr lang="en-US" sz="1000" dirty="0"/>
              <a:t>.</a:t>
            </a:r>
          </a:p>
          <a:p>
            <a:pPr marL="228600" indent="-228600">
              <a:buFont typeface="+mj-lt"/>
              <a:buAutoNum type="arabicPeriod"/>
            </a:pPr>
            <a:r>
              <a:rPr lang="en-US" sz="1000" dirty="0"/>
              <a:t>Click on the icon for </a:t>
            </a:r>
            <a:r>
              <a:rPr lang="en-US" sz="1000" b="1" dirty="0"/>
              <a:t>New Project</a:t>
            </a:r>
            <a:endParaRPr lang="en-US" sz="1000" dirty="0"/>
          </a:p>
          <a:p>
            <a:pPr marL="228600" indent="-228600">
              <a:buFont typeface="+mj-lt"/>
              <a:buAutoNum type="arabicPeriod" startAt="4"/>
            </a:pPr>
            <a:r>
              <a:rPr lang="en-US" sz="1000" b="0" dirty="0"/>
              <a:t>Click on the Project Settings icon </a:t>
            </a:r>
          </a:p>
          <a:p>
            <a:pPr marL="228600" indent="-228600">
              <a:buFont typeface="+mj-lt"/>
              <a:buAutoNum type="arabicPeriod" startAt="4"/>
            </a:pPr>
            <a:r>
              <a:rPr lang="en-US" sz="1000" b="0" dirty="0"/>
              <a:t>Under Subscription Keys, copy the key</a:t>
            </a:r>
          </a:p>
          <a:p>
            <a:pPr marL="0" indent="0">
              <a:buFont typeface="+mj-lt"/>
              <a:buNone/>
            </a:pPr>
            <a:endParaRPr lang="en-US" sz="1000" b="0" dirty="0"/>
          </a:p>
          <a:p>
            <a:pPr marL="0" indent="0">
              <a:buFont typeface="+mj-lt"/>
              <a:buNone/>
            </a:pPr>
            <a:endParaRPr lang="en-US" sz="1000" b="0"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4"/>
          </p:nvPr>
        </p:nvSpPr>
        <p:spPr>
          <a:xfrm>
            <a:off x="0" y="9121140"/>
            <a:ext cx="6315456" cy="373762"/>
          </a:xfrm>
        </p:spPr>
        <p:txBody>
          <a:bodyPr/>
          <a:lstStyle/>
          <a:p>
            <a:pPr defTabSz="966294"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7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381946506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74320" y="4217670"/>
            <a:ext cx="6297930" cy="4594860"/>
          </a:xfrm>
        </p:spPr>
        <p:txBody>
          <a:bodyPr/>
          <a:lstStyle/>
          <a:p>
            <a:pPr marL="0" indent="0">
              <a:buFont typeface="+mj-lt"/>
              <a:buNone/>
            </a:pPr>
            <a:r>
              <a:rPr lang="en-US" sz="1000" b="0" dirty="0"/>
              <a:t>This page has been intentionally left blank. </a:t>
            </a:r>
          </a:p>
          <a:p>
            <a:pPr marL="0" indent="0">
              <a:buFont typeface="+mj-lt"/>
              <a:buNone/>
            </a:pPr>
            <a:endParaRPr lang="en-US" sz="1000" b="0" dirty="0"/>
          </a:p>
          <a:p>
            <a:pPr marL="0" indent="0">
              <a:buFont typeface="+mj-lt"/>
              <a:buNone/>
            </a:pPr>
            <a:r>
              <a:rPr lang="en-US" sz="1000" b="0" dirty="0"/>
              <a:t>The instructor will walk through the code either from the PowerPoint slide or from the source code in Visual Studio.</a:t>
            </a: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4"/>
          </p:nvPr>
        </p:nvSpPr>
        <p:spPr>
          <a:xfrm>
            <a:off x="0" y="9121140"/>
            <a:ext cx="6315456" cy="373762"/>
          </a:xfrm>
        </p:spPr>
        <p:txBody>
          <a:bodyPr/>
          <a:lstStyle/>
          <a:p>
            <a:pPr defTabSz="966294"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7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59194368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74320" y="4217670"/>
            <a:ext cx="6297930" cy="4594860"/>
          </a:xfrm>
        </p:spPr>
        <p:txBody>
          <a:bodyPr/>
          <a:lstStyle/>
          <a:p>
            <a:pPr marL="0" indent="0">
              <a:buFont typeface="+mj-lt"/>
              <a:buNone/>
            </a:pPr>
            <a:r>
              <a:rPr lang="en-US" sz="1000" b="0" dirty="0"/>
              <a:t>This page has been intentionally left blank. </a:t>
            </a:r>
          </a:p>
          <a:p>
            <a:pPr marL="0" indent="0">
              <a:buFont typeface="+mj-lt"/>
              <a:buNone/>
            </a:pPr>
            <a:endParaRPr lang="en-US" sz="1000" b="0" dirty="0"/>
          </a:p>
          <a:p>
            <a:pPr marL="0" indent="0">
              <a:buFont typeface="+mj-lt"/>
              <a:buNone/>
            </a:pPr>
            <a:r>
              <a:rPr lang="en-US" sz="1000" b="0" dirty="0"/>
              <a:t>The instructor will walk through the code either from the PowerPoint slide or from the source code in Visual Studio.</a:t>
            </a:r>
          </a:p>
          <a:p>
            <a:pPr marL="0" indent="0">
              <a:buFont typeface="+mj-lt"/>
              <a:buNone/>
            </a:pPr>
            <a:endParaRPr lang="en-US" sz="1000" b="0"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4"/>
          </p:nvPr>
        </p:nvSpPr>
        <p:spPr>
          <a:xfrm>
            <a:off x="0" y="9121140"/>
            <a:ext cx="6315456" cy="373762"/>
          </a:xfrm>
        </p:spPr>
        <p:txBody>
          <a:bodyPr/>
          <a:lstStyle/>
          <a:p>
            <a:pPr defTabSz="966294"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7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416094125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74320" y="4217670"/>
            <a:ext cx="6297930" cy="4594860"/>
          </a:xfrm>
        </p:spPr>
        <p:txBody>
          <a:bodyPr/>
          <a:lstStyle/>
          <a:p>
            <a:pPr marL="0" indent="0">
              <a:buFont typeface="+mj-lt"/>
              <a:buNone/>
            </a:pPr>
            <a:r>
              <a:rPr lang="en-US" sz="1000" b="0" dirty="0"/>
              <a:t>This page has been intentionally left blank. </a:t>
            </a:r>
          </a:p>
          <a:p>
            <a:pPr marL="0" indent="0">
              <a:buFont typeface="+mj-lt"/>
              <a:buNone/>
            </a:pPr>
            <a:endParaRPr lang="en-US" sz="1000" b="0" dirty="0"/>
          </a:p>
          <a:p>
            <a:pPr marL="0" indent="0">
              <a:buFont typeface="+mj-lt"/>
              <a:buNone/>
            </a:pPr>
            <a:r>
              <a:rPr lang="en-US" sz="1000" b="0" dirty="0"/>
              <a:t>The instructor will walk through the code either from the PowerPoint slide or from the source code in Visual Studio.</a:t>
            </a:r>
          </a:p>
          <a:p>
            <a:pPr marL="0" indent="0">
              <a:buFont typeface="+mj-lt"/>
              <a:buNone/>
            </a:pPr>
            <a:endParaRPr lang="en-US" sz="1000" b="0"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4"/>
          </p:nvPr>
        </p:nvSpPr>
        <p:spPr>
          <a:xfrm>
            <a:off x="0" y="9121140"/>
            <a:ext cx="6315456" cy="373762"/>
          </a:xfrm>
        </p:spPr>
        <p:txBody>
          <a:bodyPr/>
          <a:lstStyle/>
          <a:p>
            <a:pPr defTabSz="966294"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7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11103295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mj-lt"/>
              <a:buNone/>
            </a:pPr>
            <a:r>
              <a:rPr lang="en-US" sz="1800" dirty="0"/>
              <a:t>At the</a:t>
            </a:r>
            <a:r>
              <a:rPr lang="en-US" sz="1800" baseline="0" dirty="0"/>
              <a:t> end of this Module, you will:</a:t>
            </a:r>
            <a:br>
              <a:rPr lang="en-US" sz="1800" baseline="0" dirty="0"/>
            </a:br>
            <a:endParaRPr lang="en-US" sz="1800" baseline="0" dirty="0"/>
          </a:p>
          <a:p>
            <a:pPr marL="514350" indent="-514350">
              <a:lnSpc>
                <a:spcPct val="100000"/>
              </a:lnSpc>
              <a:spcBef>
                <a:spcPts val="1000"/>
              </a:spcBef>
              <a:buAutoNum type="arabicPeriod"/>
            </a:pPr>
            <a:r>
              <a:rPr lang="en-US" sz="3200" dirty="0">
                <a:solidFill>
                  <a:schemeClr val="tx2"/>
                </a:solidFill>
                <a:latin typeface="Segoe UI Light"/>
              </a:rPr>
              <a:t>Cognitive Services Introduction</a:t>
            </a:r>
          </a:p>
          <a:p>
            <a:pPr marL="514350" indent="-514350">
              <a:lnSpc>
                <a:spcPct val="100000"/>
              </a:lnSpc>
              <a:spcBef>
                <a:spcPts val="1000"/>
              </a:spcBef>
              <a:buAutoNum type="arabicPeriod"/>
            </a:pPr>
            <a:r>
              <a:rPr lang="en-US" sz="3200" dirty="0">
                <a:solidFill>
                  <a:schemeClr val="tx2"/>
                </a:solidFill>
                <a:latin typeface="Segoe UI Light"/>
              </a:rPr>
              <a:t>Custom Vision Overview</a:t>
            </a:r>
          </a:p>
          <a:p>
            <a:pPr marL="514350" indent="-514350">
              <a:lnSpc>
                <a:spcPct val="100000"/>
              </a:lnSpc>
              <a:spcBef>
                <a:spcPts val="1000"/>
              </a:spcBef>
              <a:buAutoNum type="arabicPeriod"/>
            </a:pPr>
            <a:r>
              <a:rPr lang="en-US" sz="3200" dirty="0">
                <a:solidFill>
                  <a:schemeClr val="tx2"/>
                </a:solidFill>
                <a:latin typeface="Segoe UI Light"/>
              </a:rPr>
              <a:t>Custom Vision APIs</a:t>
            </a:r>
          </a:p>
          <a:p>
            <a:pPr marL="514350" indent="-514350">
              <a:lnSpc>
                <a:spcPct val="100000"/>
              </a:lnSpc>
              <a:spcBef>
                <a:spcPts val="1000"/>
              </a:spcBef>
              <a:buAutoNum type="arabicPeriod"/>
            </a:pPr>
            <a:r>
              <a:rPr lang="en-US" sz="3200" dirty="0">
                <a:solidFill>
                  <a:schemeClr val="tx2"/>
                </a:solidFill>
                <a:latin typeface="Segoe UI Light"/>
              </a:rPr>
              <a:t>Creating Custom Vision Solution</a:t>
            </a:r>
          </a:p>
          <a:p>
            <a:endParaRPr lang="en-US" sz="1600" dirty="0"/>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147198097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74320" y="4217670"/>
            <a:ext cx="6297930" cy="4594860"/>
          </a:xfrm>
        </p:spPr>
        <p:txBody>
          <a:bodyPr/>
          <a:lstStyle/>
          <a:p>
            <a:pPr marL="0" indent="0">
              <a:buFont typeface="+mj-lt"/>
              <a:buNone/>
            </a:pPr>
            <a:r>
              <a:rPr lang="en-US" sz="1000" b="0" dirty="0"/>
              <a:t>This page has been intentionally left blank. </a:t>
            </a:r>
          </a:p>
          <a:p>
            <a:pPr marL="0" indent="0">
              <a:buFont typeface="+mj-lt"/>
              <a:buNone/>
            </a:pPr>
            <a:endParaRPr lang="en-US" sz="1000" b="0" dirty="0"/>
          </a:p>
          <a:p>
            <a:pPr marL="0" indent="0">
              <a:buFont typeface="+mj-lt"/>
              <a:buNone/>
            </a:pPr>
            <a:r>
              <a:rPr lang="en-US" sz="1000" b="0" dirty="0"/>
              <a:t>The instructor will walk through the code either from the PowerPoint slide or from the source code in Visual Studio.</a:t>
            </a:r>
          </a:p>
          <a:p>
            <a:pPr marL="0" indent="0">
              <a:buFont typeface="+mj-lt"/>
              <a:buNone/>
            </a:pPr>
            <a:endParaRPr lang="en-US" sz="1000" b="0"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4"/>
          </p:nvPr>
        </p:nvSpPr>
        <p:spPr>
          <a:xfrm>
            <a:off x="0" y="9121140"/>
            <a:ext cx="6315456" cy="373762"/>
          </a:xfrm>
        </p:spPr>
        <p:txBody>
          <a:bodyPr/>
          <a:lstStyle/>
          <a:p>
            <a:pPr defTabSz="966294"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7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81572604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defTabSz="986002">
              <a:spcAft>
                <a:spcPts val="359"/>
              </a:spcAft>
              <a:buFont typeface="+mj-lt"/>
              <a:buNone/>
              <a:defRPr/>
            </a:pPr>
            <a:r>
              <a:rPr lang="en-US" sz="900" dirty="0">
                <a:cs typeface="Segoe UI Light" panose="020B0502040204020203" pitchFamily="34" charset="0"/>
              </a:rPr>
              <a:t>In this demonstration we will look at the code required to prepare to use the Custom Vision APIs.</a:t>
            </a:r>
          </a:p>
          <a:p>
            <a:pPr marL="0" indent="0" defTabSz="986002">
              <a:spcAft>
                <a:spcPts val="359"/>
              </a:spcAft>
              <a:buFont typeface="+mj-lt"/>
              <a:buNone/>
              <a:defRPr/>
            </a:pPr>
            <a:endParaRPr lang="en-US" sz="900" dirty="0">
              <a:cs typeface="Segoe UI Light" panose="020B0502040204020203" pitchFamily="34" charset="0"/>
            </a:endParaRPr>
          </a:p>
          <a:p>
            <a:r>
              <a:rPr lang="en-US" sz="900" b="1" dirty="0"/>
              <a:t>Prerequisites</a:t>
            </a:r>
          </a:p>
          <a:p>
            <a:endParaRPr lang="en-US" sz="900" b="1" dirty="0"/>
          </a:p>
          <a:p>
            <a:r>
              <a:rPr lang="en-US" sz="900" b="1" dirty="0"/>
              <a:t>Platform requirements</a:t>
            </a:r>
          </a:p>
          <a:p>
            <a:r>
              <a:rPr lang="en-US" sz="900" dirty="0"/>
              <a:t>This example has been developed for the .NET Framework using </a:t>
            </a:r>
            <a:r>
              <a:rPr lang="en-US" sz="900" dirty="0">
                <a:hlinkClick r:id="rId3"/>
              </a:rPr>
              <a:t>Visual Studio 2017, Community Edition</a:t>
            </a:r>
            <a:endParaRPr lang="en-US" sz="900" dirty="0"/>
          </a:p>
          <a:p>
            <a:endParaRPr lang="en-US" sz="900" dirty="0"/>
          </a:p>
          <a:p>
            <a:r>
              <a:rPr lang="en-US" sz="900" b="1" dirty="0"/>
              <a:t>Training client library</a:t>
            </a:r>
          </a:p>
          <a:p>
            <a:r>
              <a:rPr lang="en-US" sz="900" dirty="0"/>
              <a:t>You may need to install the client library. The easiest way to get the training client library is to get the </a:t>
            </a:r>
            <a:r>
              <a:rPr lang="en-US" sz="900" dirty="0" err="1">
                <a:hlinkClick r:id="rId4"/>
              </a:rPr>
              <a:t>Microsoft.Cognitive.CustomVision.Training</a:t>
            </a:r>
            <a:r>
              <a:rPr lang="en-US" sz="900" dirty="0"/>
              <a:t> package from </a:t>
            </a:r>
            <a:r>
              <a:rPr lang="en-US" sz="900" dirty="0" err="1">
                <a:hlinkClick r:id="rId5"/>
              </a:rPr>
              <a:t>nuget</a:t>
            </a:r>
            <a:r>
              <a:rPr lang="en-US" sz="900" dirty="0"/>
              <a:t>.</a:t>
            </a:r>
          </a:p>
          <a:p>
            <a:endParaRPr lang="en-US" sz="900" dirty="0"/>
          </a:p>
          <a:p>
            <a:r>
              <a:rPr lang="en-US" sz="900" b="1" dirty="0"/>
              <a:t>The Training API key</a:t>
            </a:r>
          </a:p>
          <a:p>
            <a:r>
              <a:rPr lang="en-US" sz="900" dirty="0"/>
              <a:t>The training API key allows you to create, manage and train Custom Vision projects </a:t>
            </a:r>
            <a:r>
              <a:rPr lang="en-US" sz="900" dirty="0" err="1"/>
              <a:t>programatically</a:t>
            </a:r>
            <a:r>
              <a:rPr lang="en-US" sz="900" dirty="0"/>
              <a:t>. All operations on the </a:t>
            </a:r>
            <a:r>
              <a:rPr lang="en-US" sz="900" dirty="0">
                <a:hlinkClick r:id="rId6"/>
              </a:rPr>
              <a:t>website</a:t>
            </a:r>
            <a:r>
              <a:rPr lang="en-US" sz="900" dirty="0"/>
              <a:t> are exposed through this library, allowing you to automate all aspects of the Custom Vision Service. You can obtain a key by creating a project at </a:t>
            </a:r>
            <a:r>
              <a:rPr lang="en-US" sz="900" dirty="0" err="1"/>
              <a:t>at</a:t>
            </a:r>
            <a:r>
              <a:rPr lang="en-US" sz="900" dirty="0"/>
              <a:t> the website and finding the key in the setting of the project that you have created.</a:t>
            </a:r>
          </a:p>
          <a:p>
            <a:endParaRPr lang="en-US" sz="900"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b="1" dirty="0"/>
              <a:t>Step 1: </a:t>
            </a:r>
            <a:r>
              <a:rPr lang="en-GB" sz="900" b="1" dirty="0"/>
              <a:t>Setting up Custom Vision Programmatically</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GB" sz="900" b="1"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dirty="0"/>
              <a:t>Start Visual Studio 2017, Community Edition, open the Visual Studio solution named CustomVision.Sample.sln in location \Lab\Starter\Cognitive-</a:t>
            </a:r>
            <a:r>
              <a:rPr lang="en-US" sz="900" dirty="0" err="1"/>
              <a:t>CustomVision</a:t>
            </a:r>
            <a:r>
              <a:rPr lang="en-US" sz="900" dirty="0"/>
              <a:t>-Windows\Samples\</a:t>
            </a:r>
            <a:r>
              <a:rPr lang="en-US" sz="900" dirty="0" err="1"/>
              <a:t>CustomVision.Sample</a:t>
            </a:r>
            <a:r>
              <a:rPr lang="en-US" sz="900" dirty="0"/>
              <a:t>. This code defines and calls two helper methods. The method called </a:t>
            </a:r>
            <a:r>
              <a:rPr lang="en-US" sz="900" b="1" dirty="0" err="1"/>
              <a:t>GetTrainingKey</a:t>
            </a:r>
            <a:r>
              <a:rPr lang="en-US" sz="900" dirty="0"/>
              <a:t> prepares the training key. The one called </a:t>
            </a:r>
            <a:r>
              <a:rPr lang="en-US" sz="900" b="1" dirty="0" err="1"/>
              <a:t>LoadImagesFromDisk</a:t>
            </a:r>
            <a:r>
              <a:rPr lang="en-US" sz="900" dirty="0"/>
              <a:t> loads two sets of images that this example uses to train the project, and one test image that the example loads to demonstrate the use of the default prediction endpoint. On opening the project the following code should be displayed from line 35. Review the </a:t>
            </a:r>
            <a:r>
              <a:rPr lang="en-US" sz="900" dirty="0" err="1"/>
              <a:t>folowing</a:t>
            </a:r>
            <a:r>
              <a:rPr lang="en-US" sz="900" dirty="0"/>
              <a:t> code with the students:</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dirty="0"/>
          </a:p>
          <a:p>
            <a:r>
              <a:rPr lang="en-GB" sz="900" dirty="0">
                <a:solidFill>
                  <a:srgbClr val="0000FF"/>
                </a:solidFill>
                <a:latin typeface="Consolas" panose="020B0609020204030204" pitchFamily="49" charset="0"/>
              </a:rPr>
              <a:t>using</a:t>
            </a:r>
            <a:r>
              <a:rPr lang="en-GB" sz="900" dirty="0">
                <a:solidFill>
                  <a:srgbClr val="000000"/>
                </a:solidFill>
                <a:latin typeface="Consolas" panose="020B0609020204030204" pitchFamily="49" charset="0"/>
              </a:rPr>
              <a:t> System;</a:t>
            </a:r>
          </a:p>
          <a:p>
            <a:r>
              <a:rPr lang="en-GB" sz="900" dirty="0">
                <a:solidFill>
                  <a:srgbClr val="0000FF"/>
                </a:solidFill>
                <a:latin typeface="Consolas" panose="020B0609020204030204" pitchFamily="49" charset="0"/>
              </a:rPr>
              <a:t>using</a:t>
            </a:r>
            <a:r>
              <a:rPr lang="en-GB" sz="900" dirty="0">
                <a:solidFill>
                  <a:srgbClr val="000000"/>
                </a:solidFill>
                <a:latin typeface="Consolas" panose="020B0609020204030204" pitchFamily="49" charset="0"/>
              </a:rPr>
              <a:t> </a:t>
            </a:r>
            <a:r>
              <a:rPr lang="en-GB" sz="900" dirty="0" err="1">
                <a:solidFill>
                  <a:srgbClr val="000000"/>
                </a:solidFill>
                <a:latin typeface="Consolas" panose="020B0609020204030204" pitchFamily="49" charset="0"/>
              </a:rPr>
              <a:t>System.Collections.Generic</a:t>
            </a:r>
            <a:r>
              <a:rPr lang="en-GB" sz="900" dirty="0">
                <a:solidFill>
                  <a:srgbClr val="000000"/>
                </a:solidFill>
                <a:latin typeface="Consolas" panose="020B0609020204030204" pitchFamily="49" charset="0"/>
              </a:rPr>
              <a:t>;</a:t>
            </a:r>
          </a:p>
          <a:p>
            <a:r>
              <a:rPr lang="en-GB" sz="900" dirty="0">
                <a:solidFill>
                  <a:srgbClr val="0000FF"/>
                </a:solidFill>
                <a:latin typeface="Consolas" panose="020B0609020204030204" pitchFamily="49" charset="0"/>
              </a:rPr>
              <a:t>using</a:t>
            </a:r>
            <a:r>
              <a:rPr lang="en-GB" sz="900" dirty="0">
                <a:solidFill>
                  <a:srgbClr val="000000"/>
                </a:solidFill>
                <a:latin typeface="Consolas" panose="020B0609020204030204" pitchFamily="49" charset="0"/>
              </a:rPr>
              <a:t> System.IO;</a:t>
            </a:r>
          </a:p>
          <a:p>
            <a:r>
              <a:rPr lang="en-GB" sz="900" dirty="0">
                <a:solidFill>
                  <a:srgbClr val="0000FF"/>
                </a:solidFill>
                <a:latin typeface="Consolas" panose="020B0609020204030204" pitchFamily="49" charset="0"/>
              </a:rPr>
              <a:t>using</a:t>
            </a:r>
            <a:r>
              <a:rPr lang="en-GB" sz="900" dirty="0">
                <a:solidFill>
                  <a:srgbClr val="000000"/>
                </a:solidFill>
                <a:latin typeface="Consolas" panose="020B0609020204030204" pitchFamily="49" charset="0"/>
              </a:rPr>
              <a:t> </a:t>
            </a:r>
            <a:r>
              <a:rPr lang="en-GB" sz="900" dirty="0" err="1">
                <a:solidFill>
                  <a:srgbClr val="000000"/>
                </a:solidFill>
                <a:latin typeface="Consolas" panose="020B0609020204030204" pitchFamily="49" charset="0"/>
              </a:rPr>
              <a:t>System.Linq</a:t>
            </a:r>
            <a:r>
              <a:rPr lang="en-GB" sz="900" dirty="0">
                <a:solidFill>
                  <a:srgbClr val="000000"/>
                </a:solidFill>
                <a:latin typeface="Consolas" panose="020B0609020204030204" pitchFamily="49" charset="0"/>
              </a:rPr>
              <a:t>;</a:t>
            </a:r>
          </a:p>
          <a:p>
            <a:r>
              <a:rPr lang="en-GB" sz="900" dirty="0">
                <a:solidFill>
                  <a:srgbClr val="0000FF"/>
                </a:solidFill>
                <a:latin typeface="Consolas" panose="020B0609020204030204" pitchFamily="49" charset="0"/>
              </a:rPr>
              <a:t>using</a:t>
            </a:r>
            <a:r>
              <a:rPr lang="en-GB" sz="900" dirty="0">
                <a:solidFill>
                  <a:srgbClr val="000000"/>
                </a:solidFill>
                <a:latin typeface="Consolas" panose="020B0609020204030204" pitchFamily="49" charset="0"/>
              </a:rPr>
              <a:t> </a:t>
            </a:r>
            <a:r>
              <a:rPr lang="en-GB" sz="900" dirty="0" err="1">
                <a:solidFill>
                  <a:srgbClr val="000000"/>
                </a:solidFill>
                <a:latin typeface="Consolas" panose="020B0609020204030204" pitchFamily="49" charset="0"/>
              </a:rPr>
              <a:t>System.Threading</a:t>
            </a:r>
            <a:r>
              <a:rPr lang="en-GB" sz="900" dirty="0">
                <a:solidFill>
                  <a:srgbClr val="000000"/>
                </a:solidFill>
                <a:latin typeface="Consolas" panose="020B0609020204030204" pitchFamily="49" charset="0"/>
              </a:rPr>
              <a:t>;</a:t>
            </a:r>
          </a:p>
          <a:p>
            <a:r>
              <a:rPr lang="en-GB" sz="900" dirty="0">
                <a:solidFill>
                  <a:srgbClr val="0000FF"/>
                </a:solidFill>
                <a:latin typeface="Consolas" panose="020B0609020204030204" pitchFamily="49" charset="0"/>
              </a:rPr>
              <a:t>using</a:t>
            </a:r>
            <a:r>
              <a:rPr lang="en-GB" sz="900" dirty="0">
                <a:solidFill>
                  <a:srgbClr val="000000"/>
                </a:solidFill>
                <a:latin typeface="Consolas" panose="020B0609020204030204" pitchFamily="49" charset="0"/>
              </a:rPr>
              <a:t> </a:t>
            </a:r>
            <a:r>
              <a:rPr lang="en-GB" sz="900" dirty="0" err="1">
                <a:solidFill>
                  <a:srgbClr val="000000"/>
                </a:solidFill>
                <a:latin typeface="Consolas" panose="020B0609020204030204" pitchFamily="49" charset="0"/>
              </a:rPr>
              <a:t>Microsoft.Cognitive.CustomVision</a:t>
            </a:r>
            <a:r>
              <a:rPr lang="en-GB" sz="900" dirty="0">
                <a:solidFill>
                  <a:srgbClr val="000000"/>
                </a:solidFill>
                <a:latin typeface="Consolas" panose="020B0609020204030204" pitchFamily="49" charset="0"/>
              </a:rPr>
              <a:t>;</a:t>
            </a:r>
          </a:p>
          <a:p>
            <a:endParaRPr lang="en-GB" sz="900" dirty="0">
              <a:solidFill>
                <a:srgbClr val="000000"/>
              </a:solidFill>
              <a:latin typeface="Consolas" panose="020B0609020204030204" pitchFamily="49" charset="0"/>
            </a:endParaRPr>
          </a:p>
          <a:p>
            <a:r>
              <a:rPr lang="en-GB" sz="900" dirty="0">
                <a:solidFill>
                  <a:srgbClr val="0000FF"/>
                </a:solidFill>
                <a:latin typeface="Consolas" panose="020B0609020204030204" pitchFamily="49" charset="0"/>
              </a:rPr>
              <a:t>namespace</a:t>
            </a:r>
            <a:r>
              <a:rPr lang="en-GB" sz="900" dirty="0">
                <a:solidFill>
                  <a:srgbClr val="000000"/>
                </a:solidFill>
                <a:latin typeface="Consolas" panose="020B0609020204030204" pitchFamily="49" charset="0"/>
              </a:rPr>
              <a:t> </a:t>
            </a:r>
            <a:r>
              <a:rPr lang="en-GB" sz="900" dirty="0" err="1">
                <a:solidFill>
                  <a:srgbClr val="000000"/>
                </a:solidFill>
                <a:latin typeface="Consolas" panose="020B0609020204030204" pitchFamily="49" charset="0"/>
              </a:rPr>
              <a:t>CustomVision.Sample</a:t>
            </a:r>
            <a:endParaRPr lang="en-GB" sz="900" dirty="0">
              <a:solidFill>
                <a:srgbClr val="000000"/>
              </a:solidFill>
              <a:latin typeface="Consolas" panose="020B0609020204030204" pitchFamily="49" charset="0"/>
            </a:endParaRPr>
          </a:p>
          <a:p>
            <a:r>
              <a:rPr lang="en-GB" sz="900" dirty="0">
                <a:solidFill>
                  <a:srgbClr val="000000"/>
                </a:solidFill>
                <a:latin typeface="Consolas" panose="020B0609020204030204" pitchFamily="49" charset="0"/>
              </a:rPr>
              <a:t>{</a:t>
            </a:r>
          </a:p>
          <a:p>
            <a:r>
              <a:rPr lang="en-GB" sz="900" dirty="0">
                <a:solidFill>
                  <a:srgbClr val="000000"/>
                </a:solidFill>
                <a:latin typeface="Consolas" panose="020B0609020204030204" pitchFamily="49" charset="0"/>
              </a:rPr>
              <a:t>    </a:t>
            </a:r>
            <a:r>
              <a:rPr lang="en-GB" sz="900" dirty="0">
                <a:solidFill>
                  <a:srgbClr val="0000FF"/>
                </a:solidFill>
                <a:latin typeface="Consolas" panose="020B0609020204030204" pitchFamily="49" charset="0"/>
              </a:rPr>
              <a:t>class</a:t>
            </a:r>
            <a:r>
              <a:rPr lang="en-GB" sz="900" dirty="0">
                <a:solidFill>
                  <a:srgbClr val="000000"/>
                </a:solidFill>
                <a:latin typeface="Consolas" panose="020B0609020204030204" pitchFamily="49" charset="0"/>
              </a:rPr>
              <a:t> </a:t>
            </a:r>
            <a:r>
              <a:rPr lang="en-GB" sz="900" dirty="0">
                <a:solidFill>
                  <a:srgbClr val="2B91AF"/>
                </a:solidFill>
                <a:latin typeface="Consolas" panose="020B0609020204030204" pitchFamily="49" charset="0"/>
              </a:rPr>
              <a:t>Program</a:t>
            </a:r>
            <a:endParaRPr lang="en-GB" sz="900" dirty="0">
              <a:solidFill>
                <a:srgbClr val="000000"/>
              </a:solidFill>
              <a:latin typeface="Consolas" panose="020B0609020204030204" pitchFamily="49" charset="0"/>
            </a:endParaRPr>
          </a:p>
          <a:p>
            <a:r>
              <a:rPr lang="en-GB" sz="900" dirty="0">
                <a:solidFill>
                  <a:srgbClr val="000000"/>
                </a:solidFill>
                <a:latin typeface="Consolas" panose="020B0609020204030204" pitchFamily="49" charset="0"/>
              </a:rPr>
              <a:t>    {</a:t>
            </a:r>
          </a:p>
          <a:p>
            <a:r>
              <a:rPr lang="en-US" sz="900" dirty="0">
                <a:solidFill>
                  <a:srgbClr val="000000"/>
                </a:solidFill>
                <a:latin typeface="Consolas" panose="020B0609020204030204" pitchFamily="49" charset="0"/>
              </a:rPr>
              <a:t>        </a:t>
            </a:r>
            <a:r>
              <a:rPr lang="en-US" sz="900" dirty="0">
                <a:solidFill>
                  <a:srgbClr val="0000FF"/>
                </a:solidFill>
                <a:latin typeface="Consolas" panose="020B0609020204030204" pitchFamily="49" charset="0"/>
              </a:rPr>
              <a:t>private</a:t>
            </a:r>
            <a:r>
              <a:rPr lang="en-US" sz="900" dirty="0">
                <a:solidFill>
                  <a:srgbClr val="000000"/>
                </a:solidFill>
                <a:latin typeface="Consolas" panose="020B0609020204030204" pitchFamily="49" charset="0"/>
              </a:rPr>
              <a:t> </a:t>
            </a:r>
            <a:r>
              <a:rPr lang="en-US" sz="900" dirty="0">
                <a:solidFill>
                  <a:srgbClr val="0000FF"/>
                </a:solidFill>
                <a:latin typeface="Consolas" panose="020B0609020204030204" pitchFamily="49" charset="0"/>
              </a:rPr>
              <a:t>static</a:t>
            </a:r>
            <a:r>
              <a:rPr lang="en-US" sz="900" dirty="0">
                <a:solidFill>
                  <a:srgbClr val="000000"/>
                </a:solidFill>
                <a:latin typeface="Consolas" panose="020B0609020204030204" pitchFamily="49" charset="0"/>
              </a:rPr>
              <a:t> List&lt;</a:t>
            </a:r>
            <a:r>
              <a:rPr lang="en-US" sz="900" dirty="0" err="1">
                <a:solidFill>
                  <a:srgbClr val="000000"/>
                </a:solidFill>
                <a:latin typeface="Consolas" panose="020B0609020204030204" pitchFamily="49" charset="0"/>
              </a:rPr>
              <a:t>MemoryStream</a:t>
            </a:r>
            <a:r>
              <a:rPr lang="en-US" sz="900" dirty="0">
                <a:solidFill>
                  <a:srgbClr val="000000"/>
                </a:solidFill>
                <a:latin typeface="Consolas" panose="020B0609020204030204" pitchFamily="49" charset="0"/>
              </a:rPr>
              <a:t>&gt; </a:t>
            </a:r>
            <a:r>
              <a:rPr lang="en-US" sz="900" dirty="0" err="1">
                <a:solidFill>
                  <a:srgbClr val="000000"/>
                </a:solidFill>
                <a:latin typeface="Consolas" panose="020B0609020204030204" pitchFamily="49" charset="0"/>
              </a:rPr>
              <a:t>hemlockImages</a:t>
            </a:r>
            <a:r>
              <a:rPr lang="en-US" sz="900" dirty="0">
                <a:solidFill>
                  <a:srgbClr val="000000"/>
                </a:solidFill>
                <a:latin typeface="Consolas" panose="020B0609020204030204" pitchFamily="49" charset="0"/>
              </a:rPr>
              <a:t>;</a:t>
            </a:r>
          </a:p>
          <a:p>
            <a:endParaRPr lang="en-GB" sz="900" dirty="0">
              <a:solidFill>
                <a:srgbClr val="000000"/>
              </a:solidFill>
              <a:latin typeface="Consolas" panose="020B0609020204030204" pitchFamily="49" charset="0"/>
            </a:endParaRPr>
          </a:p>
          <a:p>
            <a:r>
              <a:rPr lang="en-US" sz="900" dirty="0">
                <a:solidFill>
                  <a:srgbClr val="000000"/>
                </a:solidFill>
                <a:latin typeface="Consolas" panose="020B0609020204030204" pitchFamily="49" charset="0"/>
              </a:rPr>
              <a:t>        </a:t>
            </a:r>
            <a:r>
              <a:rPr lang="en-US" sz="900" dirty="0">
                <a:solidFill>
                  <a:srgbClr val="0000FF"/>
                </a:solidFill>
                <a:latin typeface="Consolas" panose="020B0609020204030204" pitchFamily="49" charset="0"/>
              </a:rPr>
              <a:t>private</a:t>
            </a:r>
            <a:r>
              <a:rPr lang="en-US" sz="900" dirty="0">
                <a:solidFill>
                  <a:srgbClr val="000000"/>
                </a:solidFill>
                <a:latin typeface="Consolas" panose="020B0609020204030204" pitchFamily="49" charset="0"/>
              </a:rPr>
              <a:t> </a:t>
            </a:r>
            <a:r>
              <a:rPr lang="en-US" sz="900" dirty="0">
                <a:solidFill>
                  <a:srgbClr val="0000FF"/>
                </a:solidFill>
                <a:latin typeface="Consolas" panose="020B0609020204030204" pitchFamily="49" charset="0"/>
              </a:rPr>
              <a:t>static</a:t>
            </a:r>
            <a:r>
              <a:rPr lang="en-US" sz="900" dirty="0">
                <a:solidFill>
                  <a:srgbClr val="000000"/>
                </a:solidFill>
                <a:latin typeface="Consolas" panose="020B0609020204030204" pitchFamily="49" charset="0"/>
              </a:rPr>
              <a:t> List&lt;</a:t>
            </a:r>
            <a:r>
              <a:rPr lang="en-US" sz="900" dirty="0" err="1">
                <a:solidFill>
                  <a:srgbClr val="000000"/>
                </a:solidFill>
                <a:latin typeface="Consolas" panose="020B0609020204030204" pitchFamily="49" charset="0"/>
              </a:rPr>
              <a:t>MemoryStream</a:t>
            </a:r>
            <a:r>
              <a:rPr lang="en-US" sz="900" dirty="0">
                <a:solidFill>
                  <a:srgbClr val="000000"/>
                </a:solidFill>
                <a:latin typeface="Consolas" panose="020B0609020204030204" pitchFamily="49" charset="0"/>
              </a:rPr>
              <a:t>&gt; </a:t>
            </a:r>
            <a:r>
              <a:rPr lang="en-US" sz="900" dirty="0" err="1">
                <a:solidFill>
                  <a:srgbClr val="000000"/>
                </a:solidFill>
                <a:latin typeface="Consolas" panose="020B0609020204030204" pitchFamily="49" charset="0"/>
              </a:rPr>
              <a:t>japaneseCherryImages</a:t>
            </a:r>
            <a:r>
              <a:rPr lang="en-US" sz="900" dirty="0">
                <a:solidFill>
                  <a:srgbClr val="000000"/>
                </a:solidFill>
                <a:latin typeface="Consolas" panose="020B0609020204030204" pitchFamily="49" charset="0"/>
              </a:rPr>
              <a:t>;</a:t>
            </a:r>
          </a:p>
          <a:p>
            <a:endParaRPr lang="en-GB" sz="900" dirty="0">
              <a:solidFill>
                <a:srgbClr val="000000"/>
              </a:solidFill>
              <a:latin typeface="Consolas" panose="020B0609020204030204" pitchFamily="49" charset="0"/>
            </a:endParaRPr>
          </a:p>
          <a:p>
            <a:r>
              <a:rPr lang="en-GB" sz="900" dirty="0">
                <a:solidFill>
                  <a:srgbClr val="000000"/>
                </a:solidFill>
                <a:latin typeface="Consolas" panose="020B0609020204030204" pitchFamily="49" charset="0"/>
              </a:rPr>
              <a:t>        </a:t>
            </a:r>
            <a:r>
              <a:rPr lang="en-GB" sz="900" dirty="0">
                <a:solidFill>
                  <a:srgbClr val="0000FF"/>
                </a:solidFill>
                <a:latin typeface="Consolas" panose="020B0609020204030204" pitchFamily="49" charset="0"/>
              </a:rPr>
              <a:t>private</a:t>
            </a:r>
            <a:r>
              <a:rPr lang="en-GB" sz="900" dirty="0">
                <a:solidFill>
                  <a:srgbClr val="000000"/>
                </a:solidFill>
                <a:latin typeface="Consolas" panose="020B0609020204030204" pitchFamily="49" charset="0"/>
              </a:rPr>
              <a:t> </a:t>
            </a:r>
            <a:r>
              <a:rPr lang="en-GB" sz="900" dirty="0">
                <a:solidFill>
                  <a:srgbClr val="0000FF"/>
                </a:solidFill>
                <a:latin typeface="Consolas" panose="020B0609020204030204" pitchFamily="49" charset="0"/>
              </a:rPr>
              <a:t>static</a:t>
            </a:r>
            <a:r>
              <a:rPr lang="en-GB" sz="900" dirty="0">
                <a:solidFill>
                  <a:srgbClr val="000000"/>
                </a:solidFill>
                <a:latin typeface="Consolas" panose="020B0609020204030204" pitchFamily="49" charset="0"/>
              </a:rPr>
              <a:t> </a:t>
            </a:r>
            <a:r>
              <a:rPr lang="en-GB" sz="900" dirty="0" err="1">
                <a:solidFill>
                  <a:srgbClr val="000000"/>
                </a:solidFill>
                <a:latin typeface="Consolas" panose="020B0609020204030204" pitchFamily="49" charset="0"/>
              </a:rPr>
              <a:t>MemoryStream</a:t>
            </a:r>
            <a:r>
              <a:rPr lang="en-GB" sz="900" dirty="0">
                <a:solidFill>
                  <a:srgbClr val="000000"/>
                </a:solidFill>
                <a:latin typeface="Consolas" panose="020B0609020204030204" pitchFamily="49" charset="0"/>
              </a:rPr>
              <a:t> </a:t>
            </a:r>
            <a:r>
              <a:rPr lang="en-GB" sz="900" dirty="0" err="1">
                <a:solidFill>
                  <a:srgbClr val="000000"/>
                </a:solidFill>
                <a:latin typeface="Consolas" panose="020B0609020204030204" pitchFamily="49" charset="0"/>
              </a:rPr>
              <a:t>testImage</a:t>
            </a:r>
            <a:r>
              <a:rPr lang="en-GB" sz="900" dirty="0">
                <a:solidFill>
                  <a:srgbClr val="000000"/>
                </a:solidFill>
                <a:latin typeface="Consolas" panose="020B0609020204030204" pitchFamily="49" charset="0"/>
              </a:rPr>
              <a:t>;</a:t>
            </a:r>
          </a:p>
          <a:p>
            <a:endParaRPr lang="en-GB" sz="900" dirty="0">
              <a:solidFill>
                <a:srgbClr val="000000"/>
              </a:solidFill>
              <a:latin typeface="Consolas" panose="020B0609020204030204" pitchFamily="49" charset="0"/>
            </a:endParaRPr>
          </a:p>
          <a:p>
            <a:r>
              <a:rPr lang="en-US" sz="900" dirty="0">
                <a:solidFill>
                  <a:srgbClr val="000000"/>
                </a:solidFill>
                <a:latin typeface="Consolas" panose="020B0609020204030204" pitchFamily="49" charset="0"/>
              </a:rPr>
              <a:t>        </a:t>
            </a:r>
            <a:r>
              <a:rPr lang="en-US" sz="900" dirty="0">
                <a:solidFill>
                  <a:srgbClr val="0000FF"/>
                </a:solidFill>
                <a:latin typeface="Consolas" panose="020B0609020204030204" pitchFamily="49" charset="0"/>
              </a:rPr>
              <a:t>static</a:t>
            </a:r>
            <a:r>
              <a:rPr lang="en-US" sz="900" dirty="0">
                <a:solidFill>
                  <a:srgbClr val="000000"/>
                </a:solidFill>
                <a:latin typeface="Consolas" panose="020B0609020204030204" pitchFamily="49" charset="0"/>
              </a:rPr>
              <a:t> </a:t>
            </a:r>
            <a:r>
              <a:rPr lang="en-US" sz="900" dirty="0">
                <a:solidFill>
                  <a:srgbClr val="0000FF"/>
                </a:solidFill>
                <a:latin typeface="Consolas" panose="020B0609020204030204" pitchFamily="49" charset="0"/>
              </a:rPr>
              <a:t>void</a:t>
            </a:r>
            <a:r>
              <a:rPr lang="en-US" sz="900" dirty="0">
                <a:solidFill>
                  <a:srgbClr val="000000"/>
                </a:solidFill>
                <a:latin typeface="Consolas" panose="020B0609020204030204" pitchFamily="49" charset="0"/>
              </a:rPr>
              <a:t> Main(</a:t>
            </a:r>
            <a:r>
              <a:rPr lang="en-US" sz="900" dirty="0">
                <a:solidFill>
                  <a:srgbClr val="0000FF"/>
                </a:solidFill>
                <a:latin typeface="Consolas" panose="020B0609020204030204" pitchFamily="49" charset="0"/>
              </a:rPr>
              <a:t>string</a:t>
            </a:r>
            <a:r>
              <a:rPr lang="en-US" sz="900" dirty="0">
                <a:solidFill>
                  <a:srgbClr val="000000"/>
                </a:solidFill>
                <a:latin typeface="Consolas" panose="020B0609020204030204" pitchFamily="49" charset="0"/>
              </a:rPr>
              <a:t>[] </a:t>
            </a:r>
            <a:r>
              <a:rPr lang="en-US" sz="900" dirty="0" err="1">
                <a:solidFill>
                  <a:srgbClr val="000000"/>
                </a:solidFill>
                <a:latin typeface="Consolas" panose="020B0609020204030204" pitchFamily="49" charset="0"/>
              </a:rPr>
              <a:t>args</a:t>
            </a:r>
            <a:r>
              <a:rPr lang="en-US" sz="900" dirty="0">
                <a:solidFill>
                  <a:srgbClr val="000000"/>
                </a:solidFill>
                <a:latin typeface="Consolas" panose="020B0609020204030204" pitchFamily="49" charset="0"/>
              </a:rPr>
              <a:t>)</a:t>
            </a:r>
          </a:p>
          <a:p>
            <a:r>
              <a:rPr lang="en-GB" sz="900" dirty="0">
                <a:solidFill>
                  <a:srgbClr val="000000"/>
                </a:solidFill>
                <a:latin typeface="Consolas" panose="020B0609020204030204" pitchFamily="49" charset="0"/>
              </a:rPr>
              <a:t>        {</a:t>
            </a:r>
          </a:p>
          <a:p>
            <a:r>
              <a:rPr lang="en-US" sz="900" dirty="0">
                <a:solidFill>
                  <a:srgbClr val="000000"/>
                </a:solidFill>
                <a:latin typeface="Consolas" panose="020B0609020204030204" pitchFamily="49" charset="0"/>
              </a:rPr>
              <a:t>            </a:t>
            </a:r>
            <a:r>
              <a:rPr lang="en-US" sz="900" dirty="0">
                <a:solidFill>
                  <a:srgbClr val="008000"/>
                </a:solidFill>
                <a:latin typeface="Consolas" panose="020B0609020204030204" pitchFamily="49" charset="0"/>
              </a:rPr>
              <a:t>// You can either add your training key here, pass it on the command line, or type it in when the program runs</a:t>
            </a:r>
            <a:endParaRPr lang="en-US" sz="900" dirty="0">
              <a:solidFill>
                <a:srgbClr val="000000"/>
              </a:solidFill>
              <a:latin typeface="Consolas" panose="020B0609020204030204" pitchFamily="49" charset="0"/>
            </a:endParaRPr>
          </a:p>
          <a:p>
            <a:r>
              <a:rPr lang="en-US" sz="900" dirty="0">
                <a:solidFill>
                  <a:srgbClr val="000000"/>
                </a:solidFill>
                <a:latin typeface="Consolas" panose="020B0609020204030204" pitchFamily="49" charset="0"/>
              </a:rPr>
              <a:t>            </a:t>
            </a:r>
            <a:r>
              <a:rPr lang="en-US" sz="900" dirty="0">
                <a:solidFill>
                  <a:srgbClr val="0000FF"/>
                </a:solidFill>
                <a:latin typeface="Consolas" panose="020B0609020204030204" pitchFamily="49" charset="0"/>
              </a:rPr>
              <a:t>string</a:t>
            </a:r>
            <a:r>
              <a:rPr lang="en-US" sz="900" dirty="0">
                <a:solidFill>
                  <a:srgbClr val="000000"/>
                </a:solidFill>
                <a:latin typeface="Consolas" panose="020B0609020204030204" pitchFamily="49" charset="0"/>
              </a:rPr>
              <a:t> </a:t>
            </a:r>
            <a:r>
              <a:rPr lang="en-US" sz="900" dirty="0" err="1">
                <a:solidFill>
                  <a:srgbClr val="000000"/>
                </a:solidFill>
                <a:latin typeface="Consolas" panose="020B0609020204030204" pitchFamily="49" charset="0"/>
              </a:rPr>
              <a:t>trainingKey</a:t>
            </a:r>
            <a:r>
              <a:rPr lang="en-US" sz="900" dirty="0">
                <a:solidFill>
                  <a:srgbClr val="000000"/>
                </a:solidFill>
                <a:latin typeface="Consolas" panose="020B0609020204030204" pitchFamily="49" charset="0"/>
              </a:rPr>
              <a:t> = </a:t>
            </a:r>
            <a:r>
              <a:rPr lang="en-US" sz="900" dirty="0" err="1">
                <a:solidFill>
                  <a:srgbClr val="000000"/>
                </a:solidFill>
                <a:latin typeface="Consolas" panose="020B0609020204030204" pitchFamily="49" charset="0"/>
              </a:rPr>
              <a:t>GetTrainingKey</a:t>
            </a:r>
            <a:r>
              <a:rPr lang="en-US" sz="900" dirty="0">
                <a:solidFill>
                  <a:srgbClr val="000000"/>
                </a:solidFill>
                <a:latin typeface="Consolas" panose="020B0609020204030204" pitchFamily="49" charset="0"/>
              </a:rPr>
              <a:t>(</a:t>
            </a:r>
            <a:r>
              <a:rPr lang="en-US" sz="900" dirty="0">
                <a:solidFill>
                  <a:srgbClr val="A31515"/>
                </a:solidFill>
                <a:latin typeface="Consolas" panose="020B0609020204030204" pitchFamily="49" charset="0"/>
              </a:rPr>
              <a:t>"&lt;your key here&gt;"</a:t>
            </a:r>
            <a:r>
              <a:rPr lang="en-US" sz="900" dirty="0">
                <a:solidFill>
                  <a:srgbClr val="000000"/>
                </a:solidFill>
                <a:latin typeface="Consolas" panose="020B0609020204030204" pitchFamily="49" charset="0"/>
              </a:rPr>
              <a:t>, </a:t>
            </a:r>
            <a:r>
              <a:rPr lang="en-US" sz="900" dirty="0" err="1">
                <a:solidFill>
                  <a:srgbClr val="000000"/>
                </a:solidFill>
                <a:latin typeface="Consolas" panose="020B0609020204030204" pitchFamily="49" charset="0"/>
              </a:rPr>
              <a:t>args</a:t>
            </a:r>
            <a:r>
              <a:rPr lang="en-US" sz="900" dirty="0">
                <a:solidFill>
                  <a:srgbClr val="000000"/>
                </a:solidFill>
                <a:latin typeface="Consolas" panose="020B0609020204030204" pitchFamily="49" charset="0"/>
              </a:rPr>
              <a:t>);</a:t>
            </a:r>
          </a:p>
          <a:p>
            <a:endParaRPr lang="en-GB" sz="900" dirty="0">
              <a:solidFill>
                <a:srgbClr val="000000"/>
              </a:solidFill>
              <a:latin typeface="Consolas" panose="020B0609020204030204" pitchFamily="49" charset="0"/>
            </a:endParaRPr>
          </a:p>
          <a:p>
            <a:r>
              <a:rPr lang="en-US" sz="900" dirty="0">
                <a:solidFill>
                  <a:srgbClr val="000000"/>
                </a:solidFill>
                <a:latin typeface="Consolas" panose="020B0609020204030204" pitchFamily="49" charset="0"/>
              </a:rPr>
              <a:t>            </a:t>
            </a:r>
            <a:r>
              <a:rPr lang="en-US" sz="900" dirty="0">
                <a:solidFill>
                  <a:srgbClr val="008000"/>
                </a:solidFill>
                <a:latin typeface="Consolas" panose="020B0609020204030204" pitchFamily="49" charset="0"/>
              </a:rPr>
              <a:t>// Create the </a:t>
            </a:r>
            <a:r>
              <a:rPr lang="en-US" sz="900" dirty="0" err="1">
                <a:solidFill>
                  <a:srgbClr val="008000"/>
                </a:solidFill>
                <a:latin typeface="Consolas" panose="020B0609020204030204" pitchFamily="49" charset="0"/>
              </a:rPr>
              <a:t>Api</a:t>
            </a:r>
            <a:r>
              <a:rPr lang="en-US" sz="900" dirty="0">
                <a:solidFill>
                  <a:srgbClr val="008000"/>
                </a:solidFill>
                <a:latin typeface="Consolas" panose="020B0609020204030204" pitchFamily="49" charset="0"/>
              </a:rPr>
              <a:t>, passing in a credentials object that contains the training key</a:t>
            </a:r>
            <a:endParaRPr lang="en-US" sz="900" dirty="0">
              <a:solidFill>
                <a:srgbClr val="000000"/>
              </a:solidFill>
              <a:latin typeface="Consolas" panose="020B0609020204030204" pitchFamily="49" charset="0"/>
            </a:endParaRPr>
          </a:p>
          <a:p>
            <a:r>
              <a:rPr lang="en-US" sz="900" dirty="0">
                <a:solidFill>
                  <a:srgbClr val="000000"/>
                </a:solidFill>
                <a:latin typeface="Consolas" panose="020B0609020204030204" pitchFamily="49" charset="0"/>
              </a:rPr>
              <a:t>            </a:t>
            </a:r>
            <a:r>
              <a:rPr lang="en-US" sz="900" dirty="0" err="1">
                <a:solidFill>
                  <a:srgbClr val="000000"/>
                </a:solidFill>
                <a:latin typeface="Consolas" panose="020B0609020204030204" pitchFamily="49" charset="0"/>
              </a:rPr>
              <a:t>TrainingApiCredentials</a:t>
            </a:r>
            <a:r>
              <a:rPr lang="en-US" sz="900" dirty="0">
                <a:solidFill>
                  <a:srgbClr val="000000"/>
                </a:solidFill>
                <a:latin typeface="Consolas" panose="020B0609020204030204" pitchFamily="49" charset="0"/>
              </a:rPr>
              <a:t> </a:t>
            </a:r>
            <a:r>
              <a:rPr lang="en-US" sz="900" dirty="0" err="1">
                <a:solidFill>
                  <a:srgbClr val="000000"/>
                </a:solidFill>
                <a:latin typeface="Consolas" panose="020B0609020204030204" pitchFamily="49" charset="0"/>
              </a:rPr>
              <a:t>trainingCredentials</a:t>
            </a:r>
            <a:r>
              <a:rPr lang="en-US" sz="900" dirty="0">
                <a:solidFill>
                  <a:srgbClr val="000000"/>
                </a:solidFill>
                <a:latin typeface="Consolas" panose="020B0609020204030204" pitchFamily="49" charset="0"/>
              </a:rPr>
              <a:t> = </a:t>
            </a:r>
            <a:r>
              <a:rPr lang="en-US" sz="900" dirty="0">
                <a:solidFill>
                  <a:srgbClr val="0000FF"/>
                </a:solidFill>
                <a:latin typeface="Consolas" panose="020B0609020204030204" pitchFamily="49" charset="0"/>
              </a:rPr>
              <a:t>new</a:t>
            </a:r>
            <a:r>
              <a:rPr lang="en-US" sz="900" dirty="0">
                <a:solidFill>
                  <a:srgbClr val="000000"/>
                </a:solidFill>
                <a:latin typeface="Consolas" panose="020B0609020204030204" pitchFamily="49" charset="0"/>
              </a:rPr>
              <a:t> </a:t>
            </a:r>
            <a:r>
              <a:rPr lang="en-US" sz="900" dirty="0" err="1">
                <a:solidFill>
                  <a:srgbClr val="000000"/>
                </a:solidFill>
                <a:latin typeface="Consolas" panose="020B0609020204030204" pitchFamily="49" charset="0"/>
              </a:rPr>
              <a:t>TrainingApiCredentials</a:t>
            </a:r>
            <a:r>
              <a:rPr lang="en-US" sz="900" dirty="0">
                <a:solidFill>
                  <a:srgbClr val="000000"/>
                </a:solidFill>
                <a:latin typeface="Consolas" panose="020B0609020204030204" pitchFamily="49" charset="0"/>
              </a:rPr>
              <a:t>(</a:t>
            </a:r>
            <a:r>
              <a:rPr lang="en-US" sz="900" dirty="0" err="1">
                <a:solidFill>
                  <a:srgbClr val="000000"/>
                </a:solidFill>
                <a:latin typeface="Consolas" panose="020B0609020204030204" pitchFamily="49" charset="0"/>
              </a:rPr>
              <a:t>trainingKey</a:t>
            </a:r>
            <a:r>
              <a:rPr lang="en-US" sz="900" dirty="0">
                <a:solidFill>
                  <a:srgbClr val="000000"/>
                </a:solidFill>
                <a:latin typeface="Consolas" panose="020B0609020204030204" pitchFamily="49" charset="0"/>
              </a:rPr>
              <a:t>);</a:t>
            </a:r>
          </a:p>
          <a:p>
            <a:r>
              <a:rPr lang="en-US" sz="900" dirty="0">
                <a:solidFill>
                  <a:srgbClr val="000000"/>
                </a:solidFill>
                <a:latin typeface="Consolas" panose="020B0609020204030204" pitchFamily="49" charset="0"/>
              </a:rPr>
              <a:t>            </a:t>
            </a:r>
            <a:r>
              <a:rPr lang="en-US" sz="900" dirty="0" err="1">
                <a:solidFill>
                  <a:srgbClr val="000000"/>
                </a:solidFill>
                <a:latin typeface="Consolas" panose="020B0609020204030204" pitchFamily="49" charset="0"/>
              </a:rPr>
              <a:t>TrainingApi</a:t>
            </a:r>
            <a:r>
              <a:rPr lang="en-US" sz="900" dirty="0">
                <a:solidFill>
                  <a:srgbClr val="000000"/>
                </a:solidFill>
                <a:latin typeface="Consolas" panose="020B0609020204030204" pitchFamily="49" charset="0"/>
              </a:rPr>
              <a:t> </a:t>
            </a:r>
            <a:r>
              <a:rPr lang="en-US" sz="900" dirty="0" err="1">
                <a:solidFill>
                  <a:srgbClr val="000000"/>
                </a:solidFill>
                <a:latin typeface="Consolas" panose="020B0609020204030204" pitchFamily="49" charset="0"/>
              </a:rPr>
              <a:t>trainingApi</a:t>
            </a:r>
            <a:r>
              <a:rPr lang="en-US" sz="900" dirty="0">
                <a:solidFill>
                  <a:srgbClr val="000000"/>
                </a:solidFill>
                <a:latin typeface="Consolas" panose="020B0609020204030204" pitchFamily="49" charset="0"/>
              </a:rPr>
              <a:t> = </a:t>
            </a:r>
            <a:r>
              <a:rPr lang="en-US" sz="900" dirty="0">
                <a:solidFill>
                  <a:srgbClr val="0000FF"/>
                </a:solidFill>
                <a:latin typeface="Consolas" panose="020B0609020204030204" pitchFamily="49" charset="0"/>
              </a:rPr>
              <a:t>new</a:t>
            </a:r>
            <a:r>
              <a:rPr lang="en-US" sz="900" dirty="0">
                <a:solidFill>
                  <a:srgbClr val="000000"/>
                </a:solidFill>
                <a:latin typeface="Consolas" panose="020B0609020204030204" pitchFamily="49" charset="0"/>
              </a:rPr>
              <a:t> </a:t>
            </a:r>
            <a:r>
              <a:rPr lang="en-US" sz="900" dirty="0" err="1">
                <a:solidFill>
                  <a:srgbClr val="000000"/>
                </a:solidFill>
                <a:latin typeface="Consolas" panose="020B0609020204030204" pitchFamily="49" charset="0"/>
              </a:rPr>
              <a:t>TrainingApi</a:t>
            </a:r>
            <a:r>
              <a:rPr lang="en-US" sz="900" dirty="0">
                <a:solidFill>
                  <a:srgbClr val="000000"/>
                </a:solidFill>
                <a:latin typeface="Consolas" panose="020B0609020204030204" pitchFamily="49" charset="0"/>
              </a:rPr>
              <a:t>(</a:t>
            </a:r>
            <a:r>
              <a:rPr lang="en-US" sz="900" dirty="0" err="1">
                <a:solidFill>
                  <a:srgbClr val="000000"/>
                </a:solidFill>
                <a:latin typeface="Consolas" panose="020B0609020204030204" pitchFamily="49" charset="0"/>
              </a:rPr>
              <a:t>trainingCredentials</a:t>
            </a:r>
            <a:r>
              <a:rPr lang="en-US" sz="900" dirty="0">
                <a:solidFill>
                  <a:srgbClr val="000000"/>
                </a:solidFill>
                <a:latin typeface="Consolas" panose="020B0609020204030204" pitchFamily="49" charset="0"/>
              </a:rPr>
              <a:t>);</a:t>
            </a:r>
          </a:p>
          <a:p>
            <a:endParaRPr lang="en-GB" sz="900" dirty="0">
              <a:solidFill>
                <a:srgbClr val="000000"/>
              </a:solidFill>
              <a:latin typeface="Consolas" panose="020B0609020204030204" pitchFamily="49" charset="0"/>
            </a:endParaRPr>
          </a:p>
          <a:p>
            <a:endParaRPr lang="en-GB" sz="900" dirty="0">
              <a:solidFill>
                <a:srgbClr val="000000"/>
              </a:solidFill>
              <a:latin typeface="Consolas" panose="020B0609020204030204" pitchFamily="49" charset="0"/>
            </a:endParaRPr>
          </a:p>
          <a:p>
            <a:r>
              <a:rPr lang="en-GB" sz="900" dirty="0">
                <a:solidFill>
                  <a:srgbClr val="000000"/>
                </a:solidFill>
                <a:latin typeface="Consolas" panose="020B0609020204030204" pitchFamily="49" charset="0"/>
              </a:rPr>
              <a:t>        }</a:t>
            </a:r>
          </a:p>
          <a:p>
            <a:endParaRPr lang="en-GB" sz="900" dirty="0">
              <a:solidFill>
                <a:srgbClr val="000000"/>
              </a:solidFill>
              <a:latin typeface="Consolas" panose="020B0609020204030204" pitchFamily="49" charset="0"/>
            </a:endParaRPr>
          </a:p>
          <a:p>
            <a:endParaRPr lang="en-GB" sz="900" dirty="0">
              <a:solidFill>
                <a:srgbClr val="000000"/>
              </a:solidFill>
              <a:latin typeface="Consolas" panose="020B0609020204030204" pitchFamily="49" charset="0"/>
            </a:endParaRPr>
          </a:p>
          <a:p>
            <a:r>
              <a:rPr lang="en-US" sz="900" dirty="0">
                <a:solidFill>
                  <a:srgbClr val="000000"/>
                </a:solidFill>
                <a:latin typeface="Consolas" panose="020B0609020204030204" pitchFamily="49" charset="0"/>
              </a:rPr>
              <a:t>        </a:t>
            </a:r>
            <a:r>
              <a:rPr lang="en-US" sz="900" dirty="0">
                <a:solidFill>
                  <a:srgbClr val="0000FF"/>
                </a:solidFill>
                <a:latin typeface="Consolas" panose="020B0609020204030204" pitchFamily="49" charset="0"/>
              </a:rPr>
              <a:t>private</a:t>
            </a:r>
            <a:r>
              <a:rPr lang="en-US" sz="900" dirty="0">
                <a:solidFill>
                  <a:srgbClr val="000000"/>
                </a:solidFill>
                <a:latin typeface="Consolas" panose="020B0609020204030204" pitchFamily="49" charset="0"/>
              </a:rPr>
              <a:t> </a:t>
            </a:r>
            <a:r>
              <a:rPr lang="en-US" sz="900" dirty="0">
                <a:solidFill>
                  <a:srgbClr val="0000FF"/>
                </a:solidFill>
                <a:latin typeface="Consolas" panose="020B0609020204030204" pitchFamily="49" charset="0"/>
              </a:rPr>
              <a:t>static</a:t>
            </a:r>
            <a:r>
              <a:rPr lang="en-US" sz="900" dirty="0">
                <a:solidFill>
                  <a:srgbClr val="000000"/>
                </a:solidFill>
                <a:latin typeface="Consolas" panose="020B0609020204030204" pitchFamily="49" charset="0"/>
              </a:rPr>
              <a:t> </a:t>
            </a:r>
            <a:r>
              <a:rPr lang="en-US" sz="900" dirty="0">
                <a:solidFill>
                  <a:srgbClr val="0000FF"/>
                </a:solidFill>
                <a:latin typeface="Consolas" panose="020B0609020204030204" pitchFamily="49" charset="0"/>
              </a:rPr>
              <a:t>string</a:t>
            </a:r>
            <a:r>
              <a:rPr lang="en-US" sz="900" dirty="0">
                <a:solidFill>
                  <a:srgbClr val="000000"/>
                </a:solidFill>
                <a:latin typeface="Consolas" panose="020B0609020204030204" pitchFamily="49" charset="0"/>
              </a:rPr>
              <a:t> </a:t>
            </a:r>
            <a:r>
              <a:rPr lang="en-US" sz="900" dirty="0" err="1">
                <a:solidFill>
                  <a:srgbClr val="000000"/>
                </a:solidFill>
                <a:latin typeface="Consolas" panose="020B0609020204030204" pitchFamily="49" charset="0"/>
              </a:rPr>
              <a:t>GetTrainingKey</a:t>
            </a:r>
            <a:r>
              <a:rPr lang="en-US" sz="900" dirty="0">
                <a:solidFill>
                  <a:srgbClr val="000000"/>
                </a:solidFill>
                <a:latin typeface="Consolas" panose="020B0609020204030204" pitchFamily="49" charset="0"/>
              </a:rPr>
              <a:t>(</a:t>
            </a:r>
            <a:r>
              <a:rPr lang="en-US" sz="900" dirty="0">
                <a:solidFill>
                  <a:srgbClr val="0000FF"/>
                </a:solidFill>
                <a:latin typeface="Consolas" panose="020B0609020204030204" pitchFamily="49" charset="0"/>
              </a:rPr>
              <a:t>string</a:t>
            </a:r>
            <a:r>
              <a:rPr lang="en-US" sz="900" dirty="0">
                <a:solidFill>
                  <a:srgbClr val="000000"/>
                </a:solidFill>
                <a:latin typeface="Consolas" panose="020B0609020204030204" pitchFamily="49" charset="0"/>
              </a:rPr>
              <a:t> </a:t>
            </a:r>
            <a:r>
              <a:rPr lang="en-US" sz="900" dirty="0" err="1">
                <a:solidFill>
                  <a:srgbClr val="000000"/>
                </a:solidFill>
                <a:latin typeface="Consolas" panose="020B0609020204030204" pitchFamily="49" charset="0"/>
              </a:rPr>
              <a:t>trainingKey</a:t>
            </a:r>
            <a:r>
              <a:rPr lang="en-US" sz="900" dirty="0">
                <a:solidFill>
                  <a:srgbClr val="000000"/>
                </a:solidFill>
                <a:latin typeface="Consolas" panose="020B0609020204030204" pitchFamily="49" charset="0"/>
              </a:rPr>
              <a:t>, </a:t>
            </a:r>
            <a:r>
              <a:rPr lang="en-US" sz="900" dirty="0">
                <a:solidFill>
                  <a:srgbClr val="0000FF"/>
                </a:solidFill>
                <a:latin typeface="Consolas" panose="020B0609020204030204" pitchFamily="49" charset="0"/>
              </a:rPr>
              <a:t>string</a:t>
            </a:r>
            <a:r>
              <a:rPr lang="en-US" sz="900" dirty="0">
                <a:solidFill>
                  <a:srgbClr val="000000"/>
                </a:solidFill>
                <a:latin typeface="Consolas" panose="020B0609020204030204" pitchFamily="49" charset="0"/>
              </a:rPr>
              <a:t>[] </a:t>
            </a:r>
            <a:r>
              <a:rPr lang="en-US" sz="900" dirty="0" err="1">
                <a:solidFill>
                  <a:srgbClr val="000000"/>
                </a:solidFill>
                <a:latin typeface="Consolas" panose="020B0609020204030204" pitchFamily="49" charset="0"/>
              </a:rPr>
              <a:t>args</a:t>
            </a:r>
            <a:r>
              <a:rPr lang="en-US" sz="900" dirty="0">
                <a:solidFill>
                  <a:srgbClr val="000000"/>
                </a:solidFill>
                <a:latin typeface="Consolas" panose="020B0609020204030204" pitchFamily="49" charset="0"/>
              </a:rPr>
              <a:t>)</a:t>
            </a:r>
          </a:p>
          <a:p>
            <a:r>
              <a:rPr lang="en-GB" sz="900" dirty="0">
                <a:solidFill>
                  <a:srgbClr val="000000"/>
                </a:solidFill>
                <a:latin typeface="Consolas" panose="020B0609020204030204" pitchFamily="49" charset="0"/>
              </a:rPr>
              <a:t>        {</a:t>
            </a:r>
          </a:p>
          <a:p>
            <a:r>
              <a:rPr lang="en-US" sz="900" dirty="0">
                <a:solidFill>
                  <a:srgbClr val="000000"/>
                </a:solidFill>
                <a:latin typeface="Consolas" panose="020B0609020204030204" pitchFamily="49" charset="0"/>
              </a:rPr>
              <a:t>            </a:t>
            </a:r>
            <a:r>
              <a:rPr lang="en-US" sz="900" dirty="0">
                <a:solidFill>
                  <a:srgbClr val="0000FF"/>
                </a:solidFill>
                <a:latin typeface="Consolas" panose="020B0609020204030204" pitchFamily="49" charset="0"/>
              </a:rPr>
              <a:t>if</a:t>
            </a:r>
            <a:r>
              <a:rPr lang="en-US" sz="900" dirty="0">
                <a:solidFill>
                  <a:srgbClr val="000000"/>
                </a:solidFill>
                <a:latin typeface="Consolas" panose="020B0609020204030204" pitchFamily="49" charset="0"/>
              </a:rPr>
              <a:t> (</a:t>
            </a:r>
            <a:r>
              <a:rPr lang="en-US" sz="900" dirty="0" err="1">
                <a:solidFill>
                  <a:srgbClr val="0000FF"/>
                </a:solidFill>
                <a:latin typeface="Consolas" panose="020B0609020204030204" pitchFamily="49" charset="0"/>
              </a:rPr>
              <a:t>string</a:t>
            </a:r>
            <a:r>
              <a:rPr lang="en-US" sz="900" dirty="0" err="1">
                <a:solidFill>
                  <a:srgbClr val="000000"/>
                </a:solidFill>
                <a:latin typeface="Consolas" panose="020B0609020204030204" pitchFamily="49" charset="0"/>
              </a:rPr>
              <a:t>.IsNullOrWhiteSpace</a:t>
            </a:r>
            <a:r>
              <a:rPr lang="en-US" sz="900" dirty="0">
                <a:solidFill>
                  <a:srgbClr val="000000"/>
                </a:solidFill>
                <a:latin typeface="Consolas" panose="020B0609020204030204" pitchFamily="49" charset="0"/>
              </a:rPr>
              <a:t>(</a:t>
            </a:r>
            <a:r>
              <a:rPr lang="en-US" sz="900" dirty="0" err="1">
                <a:solidFill>
                  <a:srgbClr val="000000"/>
                </a:solidFill>
                <a:latin typeface="Consolas" panose="020B0609020204030204" pitchFamily="49" charset="0"/>
              </a:rPr>
              <a:t>trainingKey</a:t>
            </a:r>
            <a:r>
              <a:rPr lang="en-US" sz="900" dirty="0">
                <a:solidFill>
                  <a:srgbClr val="000000"/>
                </a:solidFill>
                <a:latin typeface="Consolas" panose="020B0609020204030204" pitchFamily="49" charset="0"/>
              </a:rPr>
              <a:t>) || </a:t>
            </a:r>
            <a:r>
              <a:rPr lang="en-US" sz="900" dirty="0" err="1">
                <a:solidFill>
                  <a:srgbClr val="000000"/>
                </a:solidFill>
                <a:latin typeface="Consolas" panose="020B0609020204030204" pitchFamily="49" charset="0"/>
              </a:rPr>
              <a:t>trainingKey.Equals</a:t>
            </a:r>
            <a:r>
              <a:rPr lang="en-US" sz="900" dirty="0">
                <a:solidFill>
                  <a:srgbClr val="000000"/>
                </a:solidFill>
                <a:latin typeface="Consolas" panose="020B0609020204030204" pitchFamily="49" charset="0"/>
              </a:rPr>
              <a:t>(</a:t>
            </a:r>
            <a:r>
              <a:rPr lang="en-US" sz="900" dirty="0">
                <a:solidFill>
                  <a:srgbClr val="A31515"/>
                </a:solidFill>
                <a:latin typeface="Consolas" panose="020B0609020204030204" pitchFamily="49" charset="0"/>
              </a:rPr>
              <a:t>"&lt;your key here&gt;"</a:t>
            </a:r>
            <a:r>
              <a:rPr lang="en-US" sz="900" dirty="0">
                <a:solidFill>
                  <a:srgbClr val="000000"/>
                </a:solidFill>
                <a:latin typeface="Consolas" panose="020B0609020204030204" pitchFamily="49" charset="0"/>
              </a:rPr>
              <a:t>))</a:t>
            </a:r>
          </a:p>
          <a:p>
            <a:r>
              <a:rPr lang="en-GB" sz="900" dirty="0">
                <a:solidFill>
                  <a:srgbClr val="000000"/>
                </a:solidFill>
                <a:latin typeface="Consolas" panose="020B0609020204030204" pitchFamily="49" charset="0"/>
              </a:rPr>
              <a:t>            {</a:t>
            </a:r>
          </a:p>
          <a:p>
            <a:r>
              <a:rPr lang="en-GB" sz="900" dirty="0">
                <a:solidFill>
                  <a:srgbClr val="000000"/>
                </a:solidFill>
                <a:latin typeface="Consolas" panose="020B0609020204030204" pitchFamily="49" charset="0"/>
              </a:rPr>
              <a:t>                </a:t>
            </a:r>
            <a:r>
              <a:rPr lang="en-GB" sz="900" dirty="0">
                <a:solidFill>
                  <a:srgbClr val="0000FF"/>
                </a:solidFill>
                <a:latin typeface="Consolas" panose="020B0609020204030204" pitchFamily="49" charset="0"/>
              </a:rPr>
              <a:t>if</a:t>
            </a:r>
            <a:r>
              <a:rPr lang="en-GB" sz="900" dirty="0">
                <a:solidFill>
                  <a:srgbClr val="000000"/>
                </a:solidFill>
                <a:latin typeface="Consolas" panose="020B0609020204030204" pitchFamily="49" charset="0"/>
              </a:rPr>
              <a:t> (</a:t>
            </a:r>
            <a:r>
              <a:rPr lang="en-GB" sz="900" dirty="0" err="1">
                <a:solidFill>
                  <a:srgbClr val="000000"/>
                </a:solidFill>
                <a:latin typeface="Consolas" panose="020B0609020204030204" pitchFamily="49" charset="0"/>
              </a:rPr>
              <a:t>args.Length</a:t>
            </a:r>
            <a:r>
              <a:rPr lang="en-GB" sz="900" dirty="0">
                <a:solidFill>
                  <a:srgbClr val="000000"/>
                </a:solidFill>
                <a:latin typeface="Consolas" panose="020B0609020204030204" pitchFamily="49" charset="0"/>
              </a:rPr>
              <a:t> &gt;= 1)</a:t>
            </a:r>
          </a:p>
          <a:p>
            <a:r>
              <a:rPr lang="en-GB" sz="900" dirty="0">
                <a:solidFill>
                  <a:srgbClr val="000000"/>
                </a:solidFill>
                <a:latin typeface="Consolas" panose="020B0609020204030204" pitchFamily="49" charset="0"/>
              </a:rPr>
              <a:t>                {</a:t>
            </a:r>
          </a:p>
          <a:p>
            <a:r>
              <a:rPr lang="en-GB" sz="900" dirty="0">
                <a:solidFill>
                  <a:srgbClr val="000000"/>
                </a:solidFill>
                <a:latin typeface="Consolas" panose="020B0609020204030204" pitchFamily="49" charset="0"/>
              </a:rPr>
              <a:t>                    </a:t>
            </a:r>
            <a:r>
              <a:rPr lang="en-GB" sz="900" dirty="0" err="1">
                <a:solidFill>
                  <a:srgbClr val="000000"/>
                </a:solidFill>
                <a:latin typeface="Consolas" panose="020B0609020204030204" pitchFamily="49" charset="0"/>
              </a:rPr>
              <a:t>trainingKey</a:t>
            </a:r>
            <a:r>
              <a:rPr lang="en-GB" sz="900" dirty="0">
                <a:solidFill>
                  <a:srgbClr val="000000"/>
                </a:solidFill>
                <a:latin typeface="Consolas" panose="020B0609020204030204" pitchFamily="49" charset="0"/>
              </a:rPr>
              <a:t> = </a:t>
            </a:r>
            <a:r>
              <a:rPr lang="en-GB" sz="900" dirty="0" err="1">
                <a:solidFill>
                  <a:srgbClr val="000000"/>
                </a:solidFill>
                <a:latin typeface="Consolas" panose="020B0609020204030204" pitchFamily="49" charset="0"/>
              </a:rPr>
              <a:t>args</a:t>
            </a:r>
            <a:r>
              <a:rPr lang="en-GB" sz="900" dirty="0">
                <a:solidFill>
                  <a:srgbClr val="000000"/>
                </a:solidFill>
                <a:latin typeface="Consolas" panose="020B0609020204030204" pitchFamily="49" charset="0"/>
              </a:rPr>
              <a:t>[0];</a:t>
            </a:r>
          </a:p>
          <a:p>
            <a:r>
              <a:rPr lang="en-GB" sz="900" dirty="0">
                <a:solidFill>
                  <a:srgbClr val="000000"/>
                </a:solidFill>
                <a:latin typeface="Consolas" panose="020B0609020204030204" pitchFamily="49" charset="0"/>
              </a:rPr>
              <a:t>                }</a:t>
            </a:r>
          </a:p>
          <a:p>
            <a:endParaRPr lang="en-GB" sz="900" dirty="0">
              <a:solidFill>
                <a:srgbClr val="000000"/>
              </a:solidFill>
              <a:latin typeface="Consolas" panose="020B0609020204030204" pitchFamily="49" charset="0"/>
            </a:endParaRPr>
          </a:p>
          <a:p>
            <a:r>
              <a:rPr lang="en-GB" sz="900" dirty="0">
                <a:solidFill>
                  <a:srgbClr val="000000"/>
                </a:solidFill>
                <a:latin typeface="Consolas" panose="020B0609020204030204" pitchFamily="49" charset="0"/>
              </a:rPr>
              <a:t>                </a:t>
            </a:r>
            <a:r>
              <a:rPr lang="en-GB" sz="900" dirty="0">
                <a:solidFill>
                  <a:srgbClr val="0000FF"/>
                </a:solidFill>
                <a:latin typeface="Consolas" panose="020B0609020204030204" pitchFamily="49" charset="0"/>
              </a:rPr>
              <a:t>while</a:t>
            </a:r>
            <a:r>
              <a:rPr lang="en-GB" sz="900" dirty="0">
                <a:solidFill>
                  <a:srgbClr val="000000"/>
                </a:solidFill>
                <a:latin typeface="Consolas" panose="020B0609020204030204" pitchFamily="49" charset="0"/>
              </a:rPr>
              <a:t> (</a:t>
            </a:r>
            <a:r>
              <a:rPr lang="en-GB" sz="900" dirty="0" err="1">
                <a:solidFill>
                  <a:srgbClr val="0000FF"/>
                </a:solidFill>
                <a:latin typeface="Consolas" panose="020B0609020204030204" pitchFamily="49" charset="0"/>
              </a:rPr>
              <a:t>string</a:t>
            </a:r>
            <a:r>
              <a:rPr lang="en-GB" sz="900" dirty="0" err="1">
                <a:solidFill>
                  <a:srgbClr val="000000"/>
                </a:solidFill>
                <a:latin typeface="Consolas" panose="020B0609020204030204" pitchFamily="49" charset="0"/>
              </a:rPr>
              <a:t>.IsNullOrWhiteSpace</a:t>
            </a:r>
            <a:r>
              <a:rPr lang="en-GB" sz="900" dirty="0">
                <a:solidFill>
                  <a:srgbClr val="000000"/>
                </a:solidFill>
                <a:latin typeface="Consolas" panose="020B0609020204030204" pitchFamily="49" charset="0"/>
              </a:rPr>
              <a:t>(</a:t>
            </a:r>
            <a:r>
              <a:rPr lang="en-GB" sz="900" dirty="0" err="1">
                <a:solidFill>
                  <a:srgbClr val="000000"/>
                </a:solidFill>
                <a:latin typeface="Consolas" panose="020B0609020204030204" pitchFamily="49" charset="0"/>
              </a:rPr>
              <a:t>trainingKey</a:t>
            </a:r>
            <a:r>
              <a:rPr lang="en-GB" sz="900" dirty="0">
                <a:solidFill>
                  <a:srgbClr val="000000"/>
                </a:solidFill>
                <a:latin typeface="Consolas" panose="020B0609020204030204" pitchFamily="49" charset="0"/>
              </a:rPr>
              <a:t>) || </a:t>
            </a:r>
            <a:r>
              <a:rPr lang="en-GB" sz="900" dirty="0" err="1">
                <a:solidFill>
                  <a:srgbClr val="000000"/>
                </a:solidFill>
                <a:latin typeface="Consolas" panose="020B0609020204030204" pitchFamily="49" charset="0"/>
              </a:rPr>
              <a:t>trainingKey.Length</a:t>
            </a:r>
            <a:r>
              <a:rPr lang="en-GB" sz="900" dirty="0">
                <a:solidFill>
                  <a:srgbClr val="000000"/>
                </a:solidFill>
                <a:latin typeface="Consolas" panose="020B0609020204030204" pitchFamily="49" charset="0"/>
              </a:rPr>
              <a:t> != 32)</a:t>
            </a:r>
          </a:p>
          <a:p>
            <a:r>
              <a:rPr lang="en-GB" sz="900" dirty="0">
                <a:solidFill>
                  <a:srgbClr val="000000"/>
                </a:solidFill>
                <a:latin typeface="Consolas" panose="020B0609020204030204" pitchFamily="49" charset="0"/>
              </a:rPr>
              <a:t>                {</a:t>
            </a:r>
          </a:p>
          <a:p>
            <a:r>
              <a:rPr lang="en-US" sz="900" dirty="0">
                <a:solidFill>
                  <a:srgbClr val="000000"/>
                </a:solidFill>
                <a:latin typeface="Consolas" panose="020B0609020204030204" pitchFamily="49" charset="0"/>
              </a:rPr>
              <a:t>                    </a:t>
            </a:r>
            <a:r>
              <a:rPr lang="en-US" sz="900" dirty="0" err="1">
                <a:solidFill>
                  <a:srgbClr val="000000"/>
                </a:solidFill>
                <a:latin typeface="Consolas" panose="020B0609020204030204" pitchFamily="49" charset="0"/>
              </a:rPr>
              <a:t>Console.Write</a:t>
            </a:r>
            <a:r>
              <a:rPr lang="en-US" sz="900" dirty="0">
                <a:solidFill>
                  <a:srgbClr val="000000"/>
                </a:solidFill>
                <a:latin typeface="Consolas" panose="020B0609020204030204" pitchFamily="49" charset="0"/>
              </a:rPr>
              <a:t>(</a:t>
            </a:r>
            <a:r>
              <a:rPr lang="en-US" sz="900" dirty="0">
                <a:solidFill>
                  <a:srgbClr val="A31515"/>
                </a:solidFill>
                <a:latin typeface="Consolas" panose="020B0609020204030204" pitchFamily="49" charset="0"/>
              </a:rPr>
              <a:t>"Enter your training key: "</a:t>
            </a:r>
            <a:r>
              <a:rPr lang="en-US" sz="900" dirty="0">
                <a:solidFill>
                  <a:srgbClr val="000000"/>
                </a:solidFill>
                <a:latin typeface="Consolas" panose="020B0609020204030204" pitchFamily="49" charset="0"/>
              </a:rPr>
              <a:t>);</a:t>
            </a:r>
          </a:p>
          <a:p>
            <a:r>
              <a:rPr lang="en-GB" sz="900" dirty="0">
                <a:solidFill>
                  <a:srgbClr val="000000"/>
                </a:solidFill>
                <a:latin typeface="Consolas" panose="020B0609020204030204" pitchFamily="49" charset="0"/>
              </a:rPr>
              <a:t>                    </a:t>
            </a:r>
            <a:r>
              <a:rPr lang="en-GB" sz="900" dirty="0" err="1">
                <a:solidFill>
                  <a:srgbClr val="000000"/>
                </a:solidFill>
                <a:latin typeface="Consolas" panose="020B0609020204030204" pitchFamily="49" charset="0"/>
              </a:rPr>
              <a:t>trainingKey</a:t>
            </a:r>
            <a:r>
              <a:rPr lang="en-GB" sz="900" dirty="0">
                <a:solidFill>
                  <a:srgbClr val="000000"/>
                </a:solidFill>
                <a:latin typeface="Consolas" panose="020B0609020204030204" pitchFamily="49" charset="0"/>
              </a:rPr>
              <a:t> = </a:t>
            </a:r>
            <a:r>
              <a:rPr lang="en-GB" sz="900" dirty="0" err="1">
                <a:solidFill>
                  <a:srgbClr val="000000"/>
                </a:solidFill>
                <a:latin typeface="Consolas" panose="020B0609020204030204" pitchFamily="49" charset="0"/>
              </a:rPr>
              <a:t>Console.ReadLine</a:t>
            </a:r>
            <a:r>
              <a:rPr lang="en-GB" sz="900" dirty="0">
                <a:solidFill>
                  <a:srgbClr val="000000"/>
                </a:solidFill>
                <a:latin typeface="Consolas" panose="020B0609020204030204" pitchFamily="49" charset="0"/>
              </a:rPr>
              <a:t>();</a:t>
            </a:r>
          </a:p>
          <a:p>
            <a:r>
              <a:rPr lang="en-GB" sz="900" dirty="0">
                <a:solidFill>
                  <a:srgbClr val="000000"/>
                </a:solidFill>
                <a:latin typeface="Consolas" panose="020B0609020204030204" pitchFamily="49" charset="0"/>
              </a:rPr>
              <a:t>                }</a:t>
            </a:r>
          </a:p>
          <a:p>
            <a:r>
              <a:rPr lang="en-GB" sz="900" dirty="0">
                <a:solidFill>
                  <a:srgbClr val="000000"/>
                </a:solidFill>
                <a:latin typeface="Consolas" panose="020B0609020204030204" pitchFamily="49" charset="0"/>
              </a:rPr>
              <a:t>                </a:t>
            </a:r>
            <a:r>
              <a:rPr lang="en-GB" sz="900" dirty="0" err="1">
                <a:solidFill>
                  <a:srgbClr val="000000"/>
                </a:solidFill>
                <a:latin typeface="Consolas" panose="020B0609020204030204" pitchFamily="49" charset="0"/>
              </a:rPr>
              <a:t>Console.WriteLine</a:t>
            </a:r>
            <a:r>
              <a:rPr lang="en-GB" sz="900" dirty="0">
                <a:solidFill>
                  <a:srgbClr val="000000"/>
                </a:solidFill>
                <a:latin typeface="Consolas" panose="020B0609020204030204" pitchFamily="49" charset="0"/>
              </a:rPr>
              <a:t>();</a:t>
            </a:r>
          </a:p>
          <a:p>
            <a:r>
              <a:rPr lang="en-GB" sz="900" dirty="0">
                <a:solidFill>
                  <a:srgbClr val="000000"/>
                </a:solidFill>
                <a:latin typeface="Consolas" panose="020B0609020204030204" pitchFamily="49" charset="0"/>
              </a:rPr>
              <a:t>            }</a:t>
            </a:r>
          </a:p>
          <a:p>
            <a:endParaRPr lang="en-GB" sz="900" dirty="0">
              <a:solidFill>
                <a:srgbClr val="000000"/>
              </a:solidFill>
              <a:latin typeface="Consolas" panose="020B0609020204030204" pitchFamily="49" charset="0"/>
            </a:endParaRPr>
          </a:p>
          <a:p>
            <a:r>
              <a:rPr lang="en-GB" sz="900" dirty="0">
                <a:solidFill>
                  <a:srgbClr val="000000"/>
                </a:solidFill>
                <a:latin typeface="Consolas" panose="020B0609020204030204" pitchFamily="49" charset="0"/>
              </a:rPr>
              <a:t>            </a:t>
            </a:r>
            <a:r>
              <a:rPr lang="en-GB" sz="900" dirty="0">
                <a:solidFill>
                  <a:srgbClr val="0000FF"/>
                </a:solidFill>
                <a:latin typeface="Consolas" panose="020B0609020204030204" pitchFamily="49" charset="0"/>
              </a:rPr>
              <a:t>return</a:t>
            </a:r>
            <a:r>
              <a:rPr lang="en-GB" sz="900" dirty="0">
                <a:solidFill>
                  <a:srgbClr val="000000"/>
                </a:solidFill>
                <a:latin typeface="Consolas" panose="020B0609020204030204" pitchFamily="49" charset="0"/>
              </a:rPr>
              <a:t> </a:t>
            </a:r>
            <a:r>
              <a:rPr lang="en-GB" sz="900" dirty="0" err="1">
                <a:solidFill>
                  <a:srgbClr val="000000"/>
                </a:solidFill>
                <a:latin typeface="Consolas" panose="020B0609020204030204" pitchFamily="49" charset="0"/>
              </a:rPr>
              <a:t>trainingKey</a:t>
            </a:r>
            <a:r>
              <a:rPr lang="en-GB" sz="900" dirty="0">
                <a:solidFill>
                  <a:srgbClr val="000000"/>
                </a:solidFill>
                <a:latin typeface="Consolas" panose="020B0609020204030204" pitchFamily="49" charset="0"/>
              </a:rPr>
              <a:t>;</a:t>
            </a:r>
          </a:p>
          <a:p>
            <a:r>
              <a:rPr lang="en-GB" sz="900" dirty="0">
                <a:solidFill>
                  <a:srgbClr val="000000"/>
                </a:solidFill>
                <a:latin typeface="Consolas" panose="020B0609020204030204" pitchFamily="49" charset="0"/>
              </a:rPr>
              <a:t>        }</a:t>
            </a:r>
          </a:p>
          <a:p>
            <a:endParaRPr lang="en-GB" sz="900" dirty="0">
              <a:solidFill>
                <a:srgbClr val="000000"/>
              </a:solidFill>
              <a:latin typeface="Consolas" panose="020B0609020204030204" pitchFamily="49" charset="0"/>
            </a:endParaRPr>
          </a:p>
          <a:p>
            <a:r>
              <a:rPr lang="en-GB" sz="900" dirty="0">
                <a:solidFill>
                  <a:srgbClr val="000000"/>
                </a:solidFill>
                <a:latin typeface="Consolas" panose="020B0609020204030204" pitchFamily="49" charset="0"/>
              </a:rPr>
              <a:t>        </a:t>
            </a:r>
            <a:r>
              <a:rPr lang="en-GB" sz="900" dirty="0">
                <a:solidFill>
                  <a:srgbClr val="0000FF"/>
                </a:solidFill>
                <a:latin typeface="Consolas" panose="020B0609020204030204" pitchFamily="49" charset="0"/>
              </a:rPr>
              <a:t>private</a:t>
            </a:r>
            <a:r>
              <a:rPr lang="en-GB" sz="900" dirty="0">
                <a:solidFill>
                  <a:srgbClr val="000000"/>
                </a:solidFill>
                <a:latin typeface="Consolas" panose="020B0609020204030204" pitchFamily="49" charset="0"/>
              </a:rPr>
              <a:t> </a:t>
            </a:r>
            <a:r>
              <a:rPr lang="en-GB" sz="900" dirty="0">
                <a:solidFill>
                  <a:srgbClr val="0000FF"/>
                </a:solidFill>
                <a:latin typeface="Consolas" panose="020B0609020204030204" pitchFamily="49" charset="0"/>
              </a:rPr>
              <a:t>static</a:t>
            </a:r>
            <a:r>
              <a:rPr lang="en-GB" sz="900" dirty="0">
                <a:solidFill>
                  <a:srgbClr val="000000"/>
                </a:solidFill>
                <a:latin typeface="Consolas" panose="020B0609020204030204" pitchFamily="49" charset="0"/>
              </a:rPr>
              <a:t> </a:t>
            </a:r>
            <a:r>
              <a:rPr lang="en-GB" sz="900" dirty="0">
                <a:solidFill>
                  <a:srgbClr val="0000FF"/>
                </a:solidFill>
                <a:latin typeface="Consolas" panose="020B0609020204030204" pitchFamily="49" charset="0"/>
              </a:rPr>
              <a:t>void</a:t>
            </a:r>
            <a:r>
              <a:rPr lang="en-GB" sz="900" dirty="0">
                <a:solidFill>
                  <a:srgbClr val="000000"/>
                </a:solidFill>
                <a:latin typeface="Consolas" panose="020B0609020204030204" pitchFamily="49" charset="0"/>
              </a:rPr>
              <a:t> </a:t>
            </a:r>
            <a:r>
              <a:rPr lang="en-GB" sz="900" dirty="0" err="1">
                <a:solidFill>
                  <a:srgbClr val="000000"/>
                </a:solidFill>
                <a:latin typeface="Consolas" panose="020B0609020204030204" pitchFamily="49" charset="0"/>
              </a:rPr>
              <a:t>LoadImagesFromDisk</a:t>
            </a:r>
            <a:r>
              <a:rPr lang="en-GB" sz="900" dirty="0">
                <a:solidFill>
                  <a:srgbClr val="000000"/>
                </a:solidFill>
                <a:latin typeface="Consolas" panose="020B0609020204030204" pitchFamily="49" charset="0"/>
              </a:rPr>
              <a:t>()</a:t>
            </a:r>
          </a:p>
          <a:p>
            <a:r>
              <a:rPr lang="en-GB" sz="900" dirty="0">
                <a:solidFill>
                  <a:srgbClr val="000000"/>
                </a:solidFill>
                <a:latin typeface="Consolas" panose="020B0609020204030204" pitchFamily="49" charset="0"/>
              </a:rPr>
              <a:t>        {</a:t>
            </a:r>
          </a:p>
          <a:p>
            <a:r>
              <a:rPr lang="en-US" sz="900" dirty="0">
                <a:solidFill>
                  <a:srgbClr val="000000"/>
                </a:solidFill>
                <a:latin typeface="Consolas" panose="020B0609020204030204" pitchFamily="49" charset="0"/>
              </a:rPr>
              <a:t>            </a:t>
            </a:r>
            <a:r>
              <a:rPr lang="en-US" sz="900" dirty="0">
                <a:solidFill>
                  <a:srgbClr val="008000"/>
                </a:solidFill>
                <a:latin typeface="Consolas" panose="020B0609020204030204" pitchFamily="49" charset="0"/>
              </a:rPr>
              <a:t>// this loads the images to be uploaded from disk into memory</a:t>
            </a:r>
            <a:endParaRPr lang="en-US" sz="900" dirty="0">
              <a:solidFill>
                <a:srgbClr val="000000"/>
              </a:solidFill>
              <a:latin typeface="Consolas" panose="020B0609020204030204" pitchFamily="49" charset="0"/>
            </a:endParaRPr>
          </a:p>
          <a:p>
            <a:r>
              <a:rPr lang="en-US" sz="900" dirty="0">
                <a:solidFill>
                  <a:srgbClr val="000000"/>
                </a:solidFill>
                <a:latin typeface="Consolas" panose="020B0609020204030204" pitchFamily="49" charset="0"/>
              </a:rPr>
              <a:t>            </a:t>
            </a:r>
            <a:r>
              <a:rPr lang="en-US" sz="900" dirty="0" err="1">
                <a:solidFill>
                  <a:srgbClr val="000000"/>
                </a:solidFill>
                <a:latin typeface="Consolas" panose="020B0609020204030204" pitchFamily="49" charset="0"/>
              </a:rPr>
              <a:t>hemlockImages</a:t>
            </a:r>
            <a:r>
              <a:rPr lang="en-US" sz="900" dirty="0">
                <a:solidFill>
                  <a:srgbClr val="000000"/>
                </a:solidFill>
                <a:latin typeface="Consolas" panose="020B0609020204030204" pitchFamily="49" charset="0"/>
              </a:rPr>
              <a:t> = </a:t>
            </a:r>
            <a:r>
              <a:rPr lang="en-US" sz="900" dirty="0" err="1">
                <a:solidFill>
                  <a:srgbClr val="000000"/>
                </a:solidFill>
                <a:latin typeface="Consolas" panose="020B0609020204030204" pitchFamily="49" charset="0"/>
              </a:rPr>
              <a:t>Directory.GetFiles</a:t>
            </a:r>
            <a:r>
              <a:rPr lang="en-US" sz="900" dirty="0">
                <a:solidFill>
                  <a:srgbClr val="000000"/>
                </a:solidFill>
                <a:latin typeface="Consolas" panose="020B0609020204030204" pitchFamily="49" charset="0"/>
              </a:rPr>
              <a:t>(</a:t>
            </a:r>
            <a:r>
              <a:rPr lang="en-US" sz="900" dirty="0">
                <a:solidFill>
                  <a:srgbClr val="800000"/>
                </a:solidFill>
                <a:latin typeface="Consolas" panose="020B0609020204030204" pitchFamily="49" charset="0"/>
              </a:rPr>
              <a:t>@"..\..\..\Images\Hemlock"</a:t>
            </a:r>
            <a:r>
              <a:rPr lang="en-US" sz="900" dirty="0">
                <a:solidFill>
                  <a:srgbClr val="000000"/>
                </a:solidFill>
                <a:latin typeface="Consolas" panose="020B0609020204030204" pitchFamily="49" charset="0"/>
              </a:rPr>
              <a:t>).Select(f =&gt; </a:t>
            </a:r>
            <a:r>
              <a:rPr lang="en-US" sz="900" dirty="0">
                <a:solidFill>
                  <a:srgbClr val="0000FF"/>
                </a:solidFill>
                <a:latin typeface="Consolas" panose="020B0609020204030204" pitchFamily="49" charset="0"/>
              </a:rPr>
              <a:t>new</a:t>
            </a:r>
            <a:r>
              <a:rPr lang="en-US" sz="900" dirty="0">
                <a:solidFill>
                  <a:srgbClr val="000000"/>
                </a:solidFill>
                <a:latin typeface="Consolas" panose="020B0609020204030204" pitchFamily="49" charset="0"/>
              </a:rPr>
              <a:t> </a:t>
            </a:r>
            <a:r>
              <a:rPr lang="en-US" sz="900" dirty="0" err="1">
                <a:solidFill>
                  <a:srgbClr val="000000"/>
                </a:solidFill>
                <a:latin typeface="Consolas" panose="020B0609020204030204" pitchFamily="49" charset="0"/>
              </a:rPr>
              <a:t>MemoryStream</a:t>
            </a:r>
            <a:r>
              <a:rPr lang="en-US" sz="900" dirty="0">
                <a:solidFill>
                  <a:srgbClr val="000000"/>
                </a:solidFill>
                <a:latin typeface="Consolas" panose="020B0609020204030204" pitchFamily="49" charset="0"/>
              </a:rPr>
              <a:t>(</a:t>
            </a:r>
            <a:r>
              <a:rPr lang="en-US" sz="900" dirty="0" err="1">
                <a:solidFill>
                  <a:srgbClr val="000000"/>
                </a:solidFill>
                <a:latin typeface="Consolas" panose="020B0609020204030204" pitchFamily="49" charset="0"/>
              </a:rPr>
              <a:t>File.ReadAllBytes</a:t>
            </a:r>
            <a:r>
              <a:rPr lang="en-US" sz="900" dirty="0">
                <a:solidFill>
                  <a:srgbClr val="000000"/>
                </a:solidFill>
                <a:latin typeface="Consolas" panose="020B0609020204030204" pitchFamily="49" charset="0"/>
              </a:rPr>
              <a:t>(f))).</a:t>
            </a:r>
            <a:r>
              <a:rPr lang="en-US" sz="900" dirty="0" err="1">
                <a:solidFill>
                  <a:srgbClr val="000000"/>
                </a:solidFill>
                <a:latin typeface="Consolas" panose="020B0609020204030204" pitchFamily="49" charset="0"/>
              </a:rPr>
              <a:t>ToList</a:t>
            </a:r>
            <a:r>
              <a:rPr lang="en-US" sz="900" dirty="0">
                <a:solidFill>
                  <a:srgbClr val="000000"/>
                </a:solidFill>
                <a:latin typeface="Consolas" panose="020B0609020204030204" pitchFamily="49" charset="0"/>
              </a:rPr>
              <a:t>();</a:t>
            </a:r>
          </a:p>
          <a:p>
            <a:r>
              <a:rPr lang="en-US" sz="900" dirty="0">
                <a:solidFill>
                  <a:srgbClr val="000000"/>
                </a:solidFill>
                <a:latin typeface="Consolas" panose="020B0609020204030204" pitchFamily="49" charset="0"/>
              </a:rPr>
              <a:t>            </a:t>
            </a:r>
            <a:r>
              <a:rPr lang="en-US" sz="900" dirty="0" err="1">
                <a:solidFill>
                  <a:srgbClr val="000000"/>
                </a:solidFill>
                <a:latin typeface="Consolas" panose="020B0609020204030204" pitchFamily="49" charset="0"/>
              </a:rPr>
              <a:t>japaneseCherryImages</a:t>
            </a:r>
            <a:r>
              <a:rPr lang="en-US" sz="900" dirty="0">
                <a:solidFill>
                  <a:srgbClr val="000000"/>
                </a:solidFill>
                <a:latin typeface="Consolas" panose="020B0609020204030204" pitchFamily="49" charset="0"/>
              </a:rPr>
              <a:t> = </a:t>
            </a:r>
            <a:r>
              <a:rPr lang="en-US" sz="900" dirty="0" err="1">
                <a:solidFill>
                  <a:srgbClr val="000000"/>
                </a:solidFill>
                <a:latin typeface="Consolas" panose="020B0609020204030204" pitchFamily="49" charset="0"/>
              </a:rPr>
              <a:t>Directory.GetFiles</a:t>
            </a:r>
            <a:r>
              <a:rPr lang="en-US" sz="900" dirty="0">
                <a:solidFill>
                  <a:srgbClr val="000000"/>
                </a:solidFill>
                <a:latin typeface="Consolas" panose="020B0609020204030204" pitchFamily="49" charset="0"/>
              </a:rPr>
              <a:t>(</a:t>
            </a:r>
            <a:r>
              <a:rPr lang="en-US" sz="900" dirty="0">
                <a:solidFill>
                  <a:srgbClr val="800000"/>
                </a:solidFill>
                <a:latin typeface="Consolas" panose="020B0609020204030204" pitchFamily="49" charset="0"/>
              </a:rPr>
              <a:t>@"..\..\..\Images\Japanese Cherry"</a:t>
            </a:r>
            <a:r>
              <a:rPr lang="en-US" sz="900" dirty="0">
                <a:solidFill>
                  <a:srgbClr val="000000"/>
                </a:solidFill>
                <a:latin typeface="Consolas" panose="020B0609020204030204" pitchFamily="49" charset="0"/>
              </a:rPr>
              <a:t>).Select(f =&gt; </a:t>
            </a:r>
            <a:r>
              <a:rPr lang="en-US" sz="900" dirty="0">
                <a:solidFill>
                  <a:srgbClr val="0000FF"/>
                </a:solidFill>
                <a:latin typeface="Consolas" panose="020B0609020204030204" pitchFamily="49" charset="0"/>
              </a:rPr>
              <a:t>new</a:t>
            </a:r>
            <a:r>
              <a:rPr lang="en-US" sz="900" dirty="0">
                <a:solidFill>
                  <a:srgbClr val="000000"/>
                </a:solidFill>
                <a:latin typeface="Consolas" panose="020B0609020204030204" pitchFamily="49" charset="0"/>
              </a:rPr>
              <a:t> </a:t>
            </a:r>
            <a:r>
              <a:rPr lang="en-US" sz="900" dirty="0" err="1">
                <a:solidFill>
                  <a:srgbClr val="000000"/>
                </a:solidFill>
                <a:latin typeface="Consolas" panose="020B0609020204030204" pitchFamily="49" charset="0"/>
              </a:rPr>
              <a:t>MemoryStream</a:t>
            </a:r>
            <a:r>
              <a:rPr lang="en-US" sz="900" dirty="0">
                <a:solidFill>
                  <a:srgbClr val="000000"/>
                </a:solidFill>
                <a:latin typeface="Consolas" panose="020B0609020204030204" pitchFamily="49" charset="0"/>
              </a:rPr>
              <a:t>(</a:t>
            </a:r>
            <a:r>
              <a:rPr lang="en-US" sz="900" dirty="0" err="1">
                <a:solidFill>
                  <a:srgbClr val="000000"/>
                </a:solidFill>
                <a:latin typeface="Consolas" panose="020B0609020204030204" pitchFamily="49" charset="0"/>
              </a:rPr>
              <a:t>File.ReadAllBytes</a:t>
            </a:r>
            <a:r>
              <a:rPr lang="en-US" sz="900" dirty="0">
                <a:solidFill>
                  <a:srgbClr val="000000"/>
                </a:solidFill>
                <a:latin typeface="Consolas" panose="020B0609020204030204" pitchFamily="49" charset="0"/>
              </a:rPr>
              <a:t>(f))).</a:t>
            </a:r>
            <a:r>
              <a:rPr lang="en-US" sz="900" dirty="0" err="1">
                <a:solidFill>
                  <a:srgbClr val="000000"/>
                </a:solidFill>
                <a:latin typeface="Consolas" panose="020B0609020204030204" pitchFamily="49" charset="0"/>
              </a:rPr>
              <a:t>ToList</a:t>
            </a:r>
            <a:r>
              <a:rPr lang="en-US" sz="900" dirty="0">
                <a:solidFill>
                  <a:srgbClr val="000000"/>
                </a:solidFill>
                <a:latin typeface="Consolas" panose="020B0609020204030204" pitchFamily="49" charset="0"/>
              </a:rPr>
              <a:t>();</a:t>
            </a:r>
          </a:p>
          <a:p>
            <a:r>
              <a:rPr lang="en-US" sz="900" dirty="0">
                <a:solidFill>
                  <a:srgbClr val="000000"/>
                </a:solidFill>
                <a:latin typeface="Consolas" panose="020B0609020204030204" pitchFamily="49" charset="0"/>
              </a:rPr>
              <a:t>            </a:t>
            </a:r>
            <a:r>
              <a:rPr lang="en-US" sz="900" dirty="0" err="1">
                <a:solidFill>
                  <a:srgbClr val="000000"/>
                </a:solidFill>
                <a:latin typeface="Consolas" panose="020B0609020204030204" pitchFamily="49" charset="0"/>
              </a:rPr>
              <a:t>testImage</a:t>
            </a:r>
            <a:r>
              <a:rPr lang="en-US" sz="900" dirty="0">
                <a:solidFill>
                  <a:srgbClr val="000000"/>
                </a:solidFill>
                <a:latin typeface="Consolas" panose="020B0609020204030204" pitchFamily="49" charset="0"/>
              </a:rPr>
              <a:t> = </a:t>
            </a:r>
            <a:r>
              <a:rPr lang="en-US" sz="900" dirty="0">
                <a:solidFill>
                  <a:srgbClr val="0000FF"/>
                </a:solidFill>
                <a:latin typeface="Consolas" panose="020B0609020204030204" pitchFamily="49" charset="0"/>
              </a:rPr>
              <a:t>new</a:t>
            </a:r>
            <a:r>
              <a:rPr lang="en-US" sz="900" dirty="0">
                <a:solidFill>
                  <a:srgbClr val="000000"/>
                </a:solidFill>
                <a:latin typeface="Consolas" panose="020B0609020204030204" pitchFamily="49" charset="0"/>
              </a:rPr>
              <a:t> </a:t>
            </a:r>
            <a:r>
              <a:rPr lang="en-US" sz="900" dirty="0" err="1">
                <a:solidFill>
                  <a:srgbClr val="000000"/>
                </a:solidFill>
                <a:latin typeface="Consolas" panose="020B0609020204030204" pitchFamily="49" charset="0"/>
              </a:rPr>
              <a:t>MemoryStream</a:t>
            </a:r>
            <a:r>
              <a:rPr lang="en-US" sz="900" dirty="0">
                <a:solidFill>
                  <a:srgbClr val="000000"/>
                </a:solidFill>
                <a:latin typeface="Consolas" panose="020B0609020204030204" pitchFamily="49" charset="0"/>
              </a:rPr>
              <a:t>(</a:t>
            </a:r>
            <a:r>
              <a:rPr lang="en-US" sz="900" dirty="0" err="1">
                <a:solidFill>
                  <a:srgbClr val="000000"/>
                </a:solidFill>
                <a:latin typeface="Consolas" panose="020B0609020204030204" pitchFamily="49" charset="0"/>
              </a:rPr>
              <a:t>File.ReadAllBytes</a:t>
            </a:r>
            <a:r>
              <a:rPr lang="en-US" sz="900" dirty="0">
                <a:solidFill>
                  <a:srgbClr val="000000"/>
                </a:solidFill>
                <a:latin typeface="Consolas" panose="020B0609020204030204" pitchFamily="49" charset="0"/>
              </a:rPr>
              <a:t>(</a:t>
            </a:r>
            <a:r>
              <a:rPr lang="en-US" sz="900" dirty="0">
                <a:solidFill>
                  <a:srgbClr val="800000"/>
                </a:solidFill>
                <a:latin typeface="Consolas" panose="020B0609020204030204" pitchFamily="49" charset="0"/>
              </a:rPr>
              <a:t>@"..\..\..\Images\Test\test_image.jpg"</a:t>
            </a:r>
            <a:r>
              <a:rPr lang="en-US" sz="900" dirty="0">
                <a:solidFill>
                  <a:srgbClr val="000000"/>
                </a:solidFill>
                <a:latin typeface="Consolas" panose="020B0609020204030204" pitchFamily="49" charset="0"/>
              </a:rPr>
              <a:t>));</a:t>
            </a:r>
          </a:p>
          <a:p>
            <a:endParaRPr lang="en-GB" sz="900" dirty="0">
              <a:solidFill>
                <a:srgbClr val="000000"/>
              </a:solidFill>
              <a:latin typeface="Consolas" panose="020B0609020204030204" pitchFamily="49" charset="0"/>
            </a:endParaRPr>
          </a:p>
          <a:p>
            <a:r>
              <a:rPr lang="en-GB" sz="900" dirty="0">
                <a:solidFill>
                  <a:srgbClr val="000000"/>
                </a:solidFill>
                <a:latin typeface="Consolas" panose="020B0609020204030204" pitchFamily="49" charset="0"/>
              </a:rPr>
              <a:t>        }</a:t>
            </a:r>
          </a:p>
          <a:p>
            <a:r>
              <a:rPr lang="en-GB" sz="900" dirty="0">
                <a:solidFill>
                  <a:srgbClr val="000000"/>
                </a:solidFill>
                <a:latin typeface="Consolas" panose="020B0609020204030204" pitchFamily="49" charset="0"/>
              </a:rPr>
              <a:t>    }</a:t>
            </a:r>
          </a:p>
          <a:p>
            <a:r>
              <a:rPr lang="en-GB" sz="900" dirty="0">
                <a:solidFill>
                  <a:srgbClr val="000000"/>
                </a:solidFill>
                <a:latin typeface="Consolas" panose="020B0609020204030204" pitchFamily="49" charset="0"/>
              </a:rPr>
              <a:t>}</a:t>
            </a:r>
            <a:endParaRPr lang="en-US" sz="900" dirty="0"/>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b="1" dirty="0"/>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b="1" dirty="0"/>
          </a:p>
          <a:p>
            <a:pPr marL="0" indent="0" defTabSz="986002">
              <a:spcAft>
                <a:spcPts val="359"/>
              </a:spcAft>
              <a:buFont typeface="+mj-lt"/>
              <a:buNone/>
              <a:defRPr/>
            </a:pPr>
            <a:endParaRPr lang="en-US" sz="900" dirty="0">
              <a:cs typeface="Segoe UI Light" panose="020B0502040204020203" pitchFamily="34" charset="0"/>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Machine Learning, Analytics, &amp; Data Science Conference</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76134C8-AC9E-49DD-B3D6-722B1A93F18D}"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0/2018 3:28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8147557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74320" y="4217670"/>
            <a:ext cx="6297930" cy="4594860"/>
          </a:xfrm>
        </p:spPr>
        <p:txBody>
          <a:bodyPr/>
          <a:lstStyle/>
          <a:p>
            <a:pPr marL="0" indent="0">
              <a:buFont typeface="+mj-lt"/>
              <a:buNone/>
            </a:pPr>
            <a:r>
              <a:rPr lang="en-US" sz="1000" b="0" dirty="0"/>
              <a:t>This page has been intentionally left blank. </a:t>
            </a:r>
          </a:p>
          <a:p>
            <a:pPr marL="0" indent="0">
              <a:buFont typeface="+mj-lt"/>
              <a:buNone/>
            </a:pPr>
            <a:endParaRPr lang="en-US" sz="1000" b="0" dirty="0"/>
          </a:p>
          <a:p>
            <a:pPr marL="0" indent="0">
              <a:buFont typeface="+mj-lt"/>
              <a:buNone/>
            </a:pPr>
            <a:r>
              <a:rPr lang="en-US" sz="1000" b="0" dirty="0"/>
              <a:t>The instructor will walk through the code either from the PowerPoint slide or from the source code in Visual Studio.</a:t>
            </a:r>
          </a:p>
          <a:p>
            <a:pPr marL="0" indent="0">
              <a:buFont typeface="+mj-lt"/>
              <a:buNone/>
            </a:pPr>
            <a:endParaRPr lang="en-US" sz="1000" b="0"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4"/>
          </p:nvPr>
        </p:nvSpPr>
        <p:spPr>
          <a:xfrm>
            <a:off x="0" y="9121140"/>
            <a:ext cx="6315456" cy="373762"/>
          </a:xfrm>
        </p:spPr>
        <p:txBody>
          <a:bodyPr/>
          <a:lstStyle/>
          <a:p>
            <a:pPr defTabSz="966294"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7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316141893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74320" y="4217670"/>
            <a:ext cx="6297930" cy="4594860"/>
          </a:xfrm>
        </p:spPr>
        <p:txBody>
          <a:bodyPr/>
          <a:lstStyle/>
          <a:p>
            <a:pPr marL="0" indent="0">
              <a:buFont typeface="+mj-lt"/>
              <a:buNone/>
            </a:pPr>
            <a:r>
              <a:rPr lang="en-US" sz="1000" b="0" dirty="0"/>
              <a:t>This page has been intentionally left blank. </a:t>
            </a:r>
          </a:p>
          <a:p>
            <a:pPr marL="0" indent="0">
              <a:buFont typeface="+mj-lt"/>
              <a:buNone/>
            </a:pPr>
            <a:endParaRPr lang="en-US" sz="1000" b="0" dirty="0"/>
          </a:p>
          <a:p>
            <a:pPr marL="0" indent="0">
              <a:buFont typeface="+mj-lt"/>
              <a:buNone/>
            </a:pPr>
            <a:r>
              <a:rPr lang="en-US" sz="1000" b="0" dirty="0"/>
              <a:t>The instructor will walk through the code either from the PowerPoint slide or from the source code in Visual Studio.</a:t>
            </a:r>
          </a:p>
          <a:p>
            <a:pPr marL="0" indent="0">
              <a:buFont typeface="+mj-lt"/>
              <a:buNone/>
            </a:pPr>
            <a:endParaRPr lang="en-US" sz="1000" b="0"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4"/>
          </p:nvPr>
        </p:nvSpPr>
        <p:spPr>
          <a:xfrm>
            <a:off x="0" y="9121140"/>
            <a:ext cx="6315456" cy="373762"/>
          </a:xfrm>
        </p:spPr>
        <p:txBody>
          <a:bodyPr/>
          <a:lstStyle/>
          <a:p>
            <a:pPr defTabSz="966294"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7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371824626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74320" y="4217670"/>
            <a:ext cx="6297930" cy="4594860"/>
          </a:xfrm>
        </p:spPr>
        <p:txBody>
          <a:bodyPr/>
          <a:lstStyle/>
          <a:p>
            <a:pPr marL="0" indent="0">
              <a:buFont typeface="+mj-lt"/>
              <a:buNone/>
            </a:pPr>
            <a:r>
              <a:rPr lang="en-US" sz="1000" b="0" dirty="0"/>
              <a:t>This page has been intentionally left blank. </a:t>
            </a:r>
          </a:p>
          <a:p>
            <a:pPr marL="0" indent="0">
              <a:buFont typeface="+mj-lt"/>
              <a:buNone/>
            </a:pPr>
            <a:endParaRPr lang="en-US" sz="1000" b="0" dirty="0"/>
          </a:p>
          <a:p>
            <a:pPr marL="0" indent="0">
              <a:buFont typeface="+mj-lt"/>
              <a:buNone/>
            </a:pPr>
            <a:r>
              <a:rPr lang="en-US" sz="1000" b="0" dirty="0"/>
              <a:t>The instructor will walk through the code either from the PowerPoint slide or from the source code in Visual Studio.</a:t>
            </a:r>
          </a:p>
          <a:p>
            <a:pPr marL="0" indent="0">
              <a:buFont typeface="+mj-lt"/>
              <a:buNone/>
            </a:pPr>
            <a:endParaRPr lang="en-US" sz="1000" b="0"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4"/>
          </p:nvPr>
        </p:nvSpPr>
        <p:spPr>
          <a:xfrm>
            <a:off x="0" y="9121140"/>
            <a:ext cx="6315456" cy="373762"/>
          </a:xfrm>
        </p:spPr>
        <p:txBody>
          <a:bodyPr/>
          <a:lstStyle/>
          <a:p>
            <a:pPr defTabSz="966294"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7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195839595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defTabSz="986002">
              <a:spcAft>
                <a:spcPts val="359"/>
              </a:spcAft>
              <a:buFont typeface="+mj-lt"/>
              <a:buNone/>
              <a:defRPr/>
            </a:pPr>
            <a:r>
              <a:rPr lang="en-US" sz="900" dirty="0">
                <a:cs typeface="Segoe UI Light" panose="020B0502040204020203" pitchFamily="34" charset="0"/>
              </a:rPr>
              <a:t>In this demonstration, you will see the C# code required to create a Custom Vision Project, create tags and associate images to the tags before uploading the images.</a:t>
            </a:r>
          </a:p>
          <a:p>
            <a:pPr marL="0" indent="0" defTabSz="986002">
              <a:spcAft>
                <a:spcPts val="359"/>
              </a:spcAft>
              <a:buFont typeface="+mj-lt"/>
              <a:buNone/>
              <a:defRPr/>
            </a:pPr>
            <a:endParaRPr lang="en-US" sz="900" dirty="0">
              <a:cs typeface="Segoe UI Light" panose="020B0502040204020203" pitchFamily="34" charset="0"/>
            </a:endParaRPr>
          </a:p>
          <a:p>
            <a:r>
              <a:rPr lang="en-US" sz="900" b="1" dirty="0"/>
              <a:t>Prerequisites</a:t>
            </a:r>
          </a:p>
          <a:p>
            <a:endParaRPr lang="en-US" sz="900" b="1"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b="1" dirty="0"/>
              <a:t>Previous demo completed</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b="0" dirty="0"/>
              <a:t>Ensure that the previous demo has been completed</a:t>
            </a:r>
            <a:endParaRPr lang="en-US" sz="900" b="1" dirty="0"/>
          </a:p>
          <a:p>
            <a:endParaRPr lang="en-US" sz="900" b="1" dirty="0"/>
          </a:p>
          <a:p>
            <a:r>
              <a:rPr lang="en-US" sz="900" b="1" dirty="0"/>
              <a:t>Platform requirements</a:t>
            </a:r>
          </a:p>
          <a:p>
            <a:r>
              <a:rPr lang="en-US" sz="900" dirty="0"/>
              <a:t>This example has been developed for the .NET Framework using </a:t>
            </a:r>
            <a:r>
              <a:rPr lang="en-US" sz="900" dirty="0">
                <a:hlinkClick r:id="rId3"/>
              </a:rPr>
              <a:t>Visual Studio 2017, Community Edition</a:t>
            </a:r>
            <a:endParaRPr lang="en-US" sz="900" dirty="0"/>
          </a:p>
          <a:p>
            <a:endParaRPr lang="en-US" sz="900" dirty="0"/>
          </a:p>
          <a:p>
            <a:r>
              <a:rPr lang="en-US" sz="900" b="1" dirty="0"/>
              <a:t>Training client library</a:t>
            </a:r>
          </a:p>
          <a:p>
            <a:r>
              <a:rPr lang="en-US" sz="900" dirty="0"/>
              <a:t>You may need to install the client library. The easiest way to get the training client library is to get the </a:t>
            </a:r>
            <a:r>
              <a:rPr lang="en-US" sz="900" dirty="0" err="1">
                <a:hlinkClick r:id="rId4"/>
              </a:rPr>
              <a:t>Microsoft.Cognitive.CustomVision.Training</a:t>
            </a:r>
            <a:r>
              <a:rPr lang="en-US" sz="900" dirty="0"/>
              <a:t> package from </a:t>
            </a:r>
            <a:r>
              <a:rPr lang="en-US" sz="900" dirty="0" err="1">
                <a:hlinkClick r:id="rId5"/>
              </a:rPr>
              <a:t>nuget</a:t>
            </a:r>
            <a:r>
              <a:rPr lang="en-US" sz="900" dirty="0"/>
              <a:t>.</a:t>
            </a:r>
          </a:p>
          <a:p>
            <a:endParaRPr lang="en-US" sz="900" dirty="0"/>
          </a:p>
          <a:p>
            <a:r>
              <a:rPr lang="en-US" sz="900" b="1" dirty="0"/>
              <a:t>The Training API key</a:t>
            </a:r>
          </a:p>
          <a:p>
            <a:r>
              <a:rPr lang="en-US" sz="900" dirty="0"/>
              <a:t>The training API key allows you to create, manage and train Custom Vision projects </a:t>
            </a:r>
            <a:r>
              <a:rPr lang="en-US" sz="900" dirty="0" err="1"/>
              <a:t>programatically</a:t>
            </a:r>
            <a:r>
              <a:rPr lang="en-US" sz="900" dirty="0"/>
              <a:t>. All operations on the </a:t>
            </a:r>
            <a:r>
              <a:rPr lang="en-US" sz="900" dirty="0">
                <a:hlinkClick r:id="rId6"/>
              </a:rPr>
              <a:t>website</a:t>
            </a:r>
            <a:r>
              <a:rPr lang="en-US" sz="900" dirty="0"/>
              <a:t> are exposed through this library, allowing you to automate all aspects of the Custom Vision Service. You can obtain a key by creating a project at </a:t>
            </a:r>
            <a:r>
              <a:rPr lang="en-US" sz="900" dirty="0" err="1"/>
              <a:t>at</a:t>
            </a:r>
            <a:r>
              <a:rPr lang="en-US" sz="900" dirty="0"/>
              <a:t> the website and finding the key in the setting of the project that you have created. Add the following code as instructed to the code you opened up in the previous demo.</a:t>
            </a:r>
          </a:p>
          <a:p>
            <a:endParaRPr lang="en-US" sz="900" dirty="0"/>
          </a:p>
          <a:p>
            <a:r>
              <a:rPr lang="en-US" sz="900" b="1" dirty="0"/>
              <a:t>Step 2: Create a Custom Vision Service project</a:t>
            </a:r>
          </a:p>
          <a:p>
            <a:endParaRPr lang="en-US" sz="900" b="1" dirty="0"/>
          </a:p>
          <a:p>
            <a:r>
              <a:rPr lang="en-US" sz="900" dirty="0"/>
              <a:t>To create a new Custom Vision Service project, add the following code in your </a:t>
            </a:r>
            <a:r>
              <a:rPr lang="en-US" sz="900" b="1" dirty="0"/>
              <a:t>Main()</a:t>
            </a:r>
            <a:r>
              <a:rPr lang="en-US" sz="900" dirty="0"/>
              <a:t> method after the call to </a:t>
            </a:r>
            <a:r>
              <a:rPr lang="en-US" sz="900" b="1" dirty="0" err="1"/>
              <a:t>LoadImagesFromDisk</a:t>
            </a:r>
            <a:r>
              <a:rPr lang="en-US" sz="900" b="1" dirty="0"/>
              <a:t>().</a:t>
            </a:r>
          </a:p>
          <a:p>
            <a:endParaRPr lang="en-US" sz="900" dirty="0"/>
          </a:p>
          <a:p>
            <a:r>
              <a:rPr lang="en-US" sz="900" dirty="0"/>
              <a:t>// Create a new project </a:t>
            </a:r>
          </a:p>
          <a:p>
            <a:r>
              <a:rPr lang="en-US" sz="900" dirty="0" err="1"/>
              <a:t>Console.WriteLine</a:t>
            </a:r>
            <a:r>
              <a:rPr lang="en-US" sz="900" dirty="0"/>
              <a:t>("Creating new project:"); </a:t>
            </a:r>
          </a:p>
          <a:p>
            <a:r>
              <a:rPr lang="en-US" sz="900" dirty="0" err="1"/>
              <a:t>var</a:t>
            </a:r>
            <a:r>
              <a:rPr lang="en-US" sz="900" dirty="0"/>
              <a:t> project = </a:t>
            </a:r>
            <a:r>
              <a:rPr lang="en-US" sz="900" dirty="0" err="1"/>
              <a:t>trainingApi.CreateProject</a:t>
            </a:r>
            <a:r>
              <a:rPr lang="en-US" sz="900" dirty="0"/>
              <a:t>("My New Project"); </a:t>
            </a:r>
          </a:p>
          <a:p>
            <a:endParaRPr lang="en-US" sz="900" dirty="0"/>
          </a:p>
          <a:p>
            <a:r>
              <a:rPr lang="en-US" sz="900" b="1" dirty="0"/>
              <a:t>Step 3: Add tags to your project</a:t>
            </a:r>
          </a:p>
          <a:p>
            <a:r>
              <a:rPr lang="en-US" sz="900" dirty="0"/>
              <a:t>To add tags to your project, insert the following code after the call to </a:t>
            </a:r>
            <a:r>
              <a:rPr lang="en-US" sz="900" b="1" dirty="0" err="1"/>
              <a:t>CreateProject</a:t>
            </a:r>
            <a:r>
              <a:rPr lang="en-US" sz="900" b="1" dirty="0"/>
              <a:t>(”My New Project”);</a:t>
            </a:r>
            <a:r>
              <a:rPr lang="en-US" sz="900" dirty="0"/>
              <a:t>.</a:t>
            </a:r>
          </a:p>
          <a:p>
            <a:endParaRPr lang="en-US" sz="900" dirty="0"/>
          </a:p>
          <a:p>
            <a:r>
              <a:rPr lang="en-US" sz="900" dirty="0"/>
              <a:t>// Make two tags in the new project </a:t>
            </a:r>
          </a:p>
          <a:p>
            <a:r>
              <a:rPr lang="en-US" sz="900" dirty="0" err="1"/>
              <a:t>var</a:t>
            </a:r>
            <a:r>
              <a:rPr lang="en-US" sz="900" dirty="0"/>
              <a:t> </a:t>
            </a:r>
            <a:r>
              <a:rPr lang="en-US" sz="900" dirty="0" err="1"/>
              <a:t>hemlockTag</a:t>
            </a:r>
            <a:r>
              <a:rPr lang="en-US" sz="900" dirty="0"/>
              <a:t> = </a:t>
            </a:r>
            <a:r>
              <a:rPr lang="en-US" sz="900" dirty="0" err="1"/>
              <a:t>trainingApi.CreateTag</a:t>
            </a:r>
            <a:r>
              <a:rPr lang="en-US" sz="900" dirty="0"/>
              <a:t>(</a:t>
            </a:r>
            <a:r>
              <a:rPr lang="en-US" sz="900" dirty="0" err="1"/>
              <a:t>project.Id</a:t>
            </a:r>
            <a:r>
              <a:rPr lang="en-US" sz="900" dirty="0"/>
              <a:t>, "Hemlock"); </a:t>
            </a:r>
          </a:p>
          <a:p>
            <a:r>
              <a:rPr lang="en-US" sz="900" dirty="0" err="1"/>
              <a:t>var</a:t>
            </a:r>
            <a:r>
              <a:rPr lang="en-US" sz="900" dirty="0"/>
              <a:t> </a:t>
            </a:r>
            <a:r>
              <a:rPr lang="en-US" sz="900" dirty="0" err="1"/>
              <a:t>japaneseCherryTag</a:t>
            </a:r>
            <a:r>
              <a:rPr lang="en-US" sz="900" dirty="0"/>
              <a:t> = </a:t>
            </a:r>
            <a:r>
              <a:rPr lang="en-US" sz="900" dirty="0" err="1"/>
              <a:t>trainingApi.CreateTag</a:t>
            </a:r>
            <a:r>
              <a:rPr lang="en-US" sz="900" dirty="0"/>
              <a:t>(</a:t>
            </a:r>
            <a:r>
              <a:rPr lang="en-US" sz="900" dirty="0" err="1"/>
              <a:t>project.Id</a:t>
            </a:r>
            <a:r>
              <a:rPr lang="en-US" sz="900" dirty="0"/>
              <a:t>, "Japanese Cherry"); </a:t>
            </a:r>
          </a:p>
          <a:p>
            <a:endParaRPr lang="en-US" sz="900" dirty="0"/>
          </a:p>
          <a:p>
            <a:r>
              <a:rPr lang="en-US" sz="900" b="1" dirty="0"/>
              <a:t>Step 4: Upload images to the project</a:t>
            </a:r>
          </a:p>
          <a:p>
            <a:r>
              <a:rPr lang="en-US" sz="900" dirty="0"/>
              <a:t>To add the images we have in memory to the project, insert the following code after the call to </a:t>
            </a:r>
            <a:r>
              <a:rPr lang="en-US" sz="900" b="1" dirty="0" err="1"/>
              <a:t>CreateTag</a:t>
            </a:r>
            <a:r>
              <a:rPr lang="en-US" sz="900" b="1" dirty="0"/>
              <a:t>(</a:t>
            </a:r>
            <a:r>
              <a:rPr lang="en-US" sz="900" b="1" dirty="0" err="1"/>
              <a:t>project.Id</a:t>
            </a:r>
            <a:r>
              <a:rPr lang="en-US" sz="900" b="1" dirty="0"/>
              <a:t>, "Japanese Cherry")</a:t>
            </a:r>
            <a:r>
              <a:rPr lang="en-US" sz="900" dirty="0"/>
              <a:t> method.</a:t>
            </a:r>
          </a:p>
          <a:p>
            <a:endParaRPr lang="en-US" sz="900" dirty="0"/>
          </a:p>
          <a:p>
            <a:r>
              <a:rPr lang="en-US" sz="900" dirty="0"/>
              <a:t>// Add some images to the tags </a:t>
            </a:r>
          </a:p>
          <a:p>
            <a:r>
              <a:rPr lang="en-US" sz="900" dirty="0" err="1"/>
              <a:t>Console.WriteLine</a:t>
            </a:r>
            <a:r>
              <a:rPr lang="en-US" sz="900" dirty="0"/>
              <a:t>("\</a:t>
            </a:r>
            <a:r>
              <a:rPr lang="en-US" sz="900" dirty="0" err="1"/>
              <a:t>tUploading</a:t>
            </a:r>
            <a:r>
              <a:rPr lang="en-US" sz="900" dirty="0"/>
              <a:t> images");</a:t>
            </a:r>
          </a:p>
          <a:p>
            <a:r>
              <a:rPr lang="en-US" sz="900" dirty="0"/>
              <a:t> </a:t>
            </a:r>
            <a:r>
              <a:rPr lang="en-US" sz="900" dirty="0" err="1"/>
              <a:t>LoadImagesFromDisk</a:t>
            </a:r>
            <a:r>
              <a:rPr lang="en-US" sz="900" dirty="0"/>
              <a:t>();</a:t>
            </a:r>
          </a:p>
          <a:p>
            <a:endParaRPr lang="en-US" sz="900" dirty="0"/>
          </a:p>
          <a:p>
            <a:r>
              <a:rPr lang="en-US" sz="900" dirty="0"/>
              <a:t> // Images can be uploaded one at a time </a:t>
            </a:r>
          </a:p>
          <a:p>
            <a:r>
              <a:rPr lang="en-US" sz="900" dirty="0" err="1"/>
              <a:t>foreach</a:t>
            </a:r>
            <a:r>
              <a:rPr lang="en-US" sz="900" dirty="0"/>
              <a:t> (</a:t>
            </a:r>
            <a:r>
              <a:rPr lang="en-US" sz="900" dirty="0" err="1"/>
              <a:t>var</a:t>
            </a:r>
            <a:r>
              <a:rPr lang="en-US" sz="900" dirty="0"/>
              <a:t> image in </a:t>
            </a:r>
            <a:r>
              <a:rPr lang="en-US" sz="900" dirty="0" err="1"/>
              <a:t>hemlockImages</a:t>
            </a:r>
            <a:r>
              <a:rPr lang="en-US" sz="900" dirty="0"/>
              <a:t>) </a:t>
            </a:r>
          </a:p>
          <a:p>
            <a:r>
              <a:rPr lang="en-US" sz="900" dirty="0"/>
              <a:t>{ </a:t>
            </a:r>
          </a:p>
          <a:p>
            <a:r>
              <a:rPr lang="en-US" sz="900" dirty="0" err="1"/>
              <a:t>trainingApi.CreateImagesFromData</a:t>
            </a:r>
            <a:r>
              <a:rPr lang="en-US" sz="900" dirty="0"/>
              <a:t>(</a:t>
            </a:r>
            <a:r>
              <a:rPr lang="en-US" sz="900" dirty="0" err="1"/>
              <a:t>project.Id</a:t>
            </a:r>
            <a:r>
              <a:rPr lang="en-US" sz="900" dirty="0"/>
              <a:t>, image, new List&lt;string&gt;() { </a:t>
            </a:r>
            <a:r>
              <a:rPr lang="en-US" sz="900" dirty="0" err="1"/>
              <a:t>hemlockTag.Id.ToString</a:t>
            </a:r>
            <a:r>
              <a:rPr lang="en-US" sz="900" dirty="0"/>
              <a:t>() });</a:t>
            </a:r>
          </a:p>
          <a:p>
            <a:r>
              <a:rPr lang="en-US" sz="900" dirty="0"/>
              <a:t> } </a:t>
            </a:r>
          </a:p>
          <a:p>
            <a:endParaRPr lang="en-US" sz="900" dirty="0"/>
          </a:p>
          <a:p>
            <a:r>
              <a:rPr lang="en-US" sz="900" dirty="0"/>
              <a:t>// Or uploaded in a single batch</a:t>
            </a:r>
          </a:p>
          <a:p>
            <a:r>
              <a:rPr lang="en-US" sz="900" dirty="0" err="1"/>
              <a:t>trainingApi.CreateImagesFromData</a:t>
            </a:r>
            <a:r>
              <a:rPr lang="en-US" sz="900" dirty="0"/>
              <a:t>(</a:t>
            </a:r>
            <a:r>
              <a:rPr lang="en-US" sz="900" dirty="0" err="1"/>
              <a:t>project.Id</a:t>
            </a:r>
            <a:r>
              <a:rPr lang="en-US" sz="900" dirty="0"/>
              <a:t>, </a:t>
            </a:r>
            <a:r>
              <a:rPr lang="en-US" sz="900" dirty="0" err="1"/>
              <a:t>japaneseCherryImages</a:t>
            </a:r>
            <a:r>
              <a:rPr lang="en-US" sz="900" dirty="0"/>
              <a:t>, new List&lt;</a:t>
            </a:r>
            <a:r>
              <a:rPr lang="en-US" sz="900" dirty="0" err="1"/>
              <a:t>Guid</a:t>
            </a:r>
            <a:r>
              <a:rPr lang="en-US" sz="900" dirty="0"/>
              <a:t>&gt;() { </a:t>
            </a:r>
            <a:r>
              <a:rPr lang="en-US" sz="900" dirty="0" err="1"/>
              <a:t>japaneseCherryTag.Id</a:t>
            </a:r>
            <a:r>
              <a:rPr lang="en-US" sz="900" dirty="0"/>
              <a:t> }); </a:t>
            </a:r>
          </a:p>
          <a:p>
            <a:pPr marL="0" indent="0" defTabSz="986002">
              <a:spcAft>
                <a:spcPts val="359"/>
              </a:spcAft>
              <a:buFont typeface="+mj-lt"/>
              <a:buNone/>
              <a:defRPr/>
            </a:pPr>
            <a:endParaRPr lang="en-US" sz="900" dirty="0">
              <a:cs typeface="Segoe UI Light" panose="020B0502040204020203" pitchFamily="34" charset="0"/>
            </a:endParaRPr>
          </a:p>
          <a:p>
            <a:pPr marL="0" indent="0" defTabSz="986002">
              <a:spcAft>
                <a:spcPts val="359"/>
              </a:spcAft>
              <a:buFont typeface="+mj-lt"/>
              <a:buNone/>
              <a:defRPr/>
            </a:pPr>
            <a:endParaRPr lang="en-US" sz="900" dirty="0">
              <a:cs typeface="Segoe UI Light" panose="020B0502040204020203" pitchFamily="34" charset="0"/>
            </a:endParaRPr>
          </a:p>
          <a:p>
            <a:pPr marL="0" indent="0" defTabSz="986002">
              <a:spcAft>
                <a:spcPts val="359"/>
              </a:spcAft>
              <a:buFont typeface="+mj-lt"/>
              <a:buNone/>
              <a:defRPr/>
            </a:pPr>
            <a:endParaRPr lang="en-US" sz="900" dirty="0">
              <a:cs typeface="Segoe UI Light" panose="020B0502040204020203" pitchFamily="34" charset="0"/>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Machine Learning, Analytics, &amp; Data Science Conference</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76134C8-AC9E-49DD-B3D6-722B1A93F18D}"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0/2018 3:28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3307552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74320" y="4217670"/>
            <a:ext cx="6297930" cy="4594860"/>
          </a:xfrm>
        </p:spPr>
        <p:txBody>
          <a:bodyPr/>
          <a:lstStyle/>
          <a:p>
            <a:pPr marL="0" indent="0">
              <a:buFont typeface="+mj-lt"/>
              <a:buNone/>
            </a:pPr>
            <a:r>
              <a:rPr lang="en-US" sz="1000" b="0" dirty="0"/>
              <a:t>This page has been intentionally left blank. </a:t>
            </a:r>
          </a:p>
          <a:p>
            <a:pPr marL="0" indent="0">
              <a:buFont typeface="+mj-lt"/>
              <a:buNone/>
            </a:pPr>
            <a:endParaRPr lang="en-US" sz="1000" b="0" dirty="0"/>
          </a:p>
          <a:p>
            <a:pPr marL="0" indent="0">
              <a:buFont typeface="+mj-lt"/>
              <a:buNone/>
            </a:pPr>
            <a:r>
              <a:rPr lang="en-US" sz="1000" b="0" dirty="0"/>
              <a:t>The instructor will walk through the code either from the PowerPoint slide or from the source code in Visual Studio.</a:t>
            </a:r>
          </a:p>
          <a:p>
            <a:pPr marL="0" indent="0">
              <a:buFont typeface="+mj-lt"/>
              <a:buNone/>
            </a:pPr>
            <a:endParaRPr lang="en-US" sz="1000" b="0"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4"/>
          </p:nvPr>
        </p:nvSpPr>
        <p:spPr>
          <a:xfrm>
            <a:off x="0" y="9121140"/>
            <a:ext cx="6315456" cy="373762"/>
          </a:xfrm>
        </p:spPr>
        <p:txBody>
          <a:bodyPr/>
          <a:lstStyle/>
          <a:p>
            <a:pPr defTabSz="966294"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7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315601669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74320" y="4217670"/>
            <a:ext cx="6297930" cy="4594860"/>
          </a:xfrm>
        </p:spPr>
        <p:txBody>
          <a:bodyPr/>
          <a:lstStyle/>
          <a:p>
            <a:pPr marL="0" indent="0">
              <a:buFont typeface="+mj-lt"/>
              <a:buNone/>
            </a:pPr>
            <a:r>
              <a:rPr lang="en-US" sz="1000" b="0" dirty="0"/>
              <a:t>This page has been intentionally left blank. </a:t>
            </a:r>
          </a:p>
          <a:p>
            <a:pPr marL="0" indent="0">
              <a:buFont typeface="+mj-lt"/>
              <a:buNone/>
            </a:pPr>
            <a:endParaRPr lang="en-US" sz="1000" b="0" dirty="0"/>
          </a:p>
          <a:p>
            <a:pPr marL="0" indent="0">
              <a:buFont typeface="+mj-lt"/>
              <a:buNone/>
            </a:pPr>
            <a:r>
              <a:rPr lang="en-US" sz="1000" b="0" dirty="0"/>
              <a:t>The instructor will walk through the code either from the PowerPoint slide or from the source code in Visual Studio.</a:t>
            </a:r>
          </a:p>
          <a:p>
            <a:pPr marL="0" indent="0">
              <a:buFont typeface="+mj-lt"/>
              <a:buNone/>
            </a:pPr>
            <a:endParaRPr lang="en-US" sz="1000" b="0"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4"/>
          </p:nvPr>
        </p:nvSpPr>
        <p:spPr>
          <a:xfrm>
            <a:off x="0" y="9121140"/>
            <a:ext cx="6315456" cy="373762"/>
          </a:xfrm>
        </p:spPr>
        <p:txBody>
          <a:bodyPr/>
          <a:lstStyle/>
          <a:p>
            <a:pPr defTabSz="966294"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7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386064148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defTabSz="986002">
              <a:spcAft>
                <a:spcPts val="359"/>
              </a:spcAft>
              <a:buFont typeface="+mj-lt"/>
              <a:buNone/>
              <a:defRPr/>
            </a:pPr>
            <a:r>
              <a:rPr lang="en-US" sz="900" dirty="0">
                <a:cs typeface="Segoe UI Light" panose="020B0502040204020203" pitchFamily="34" charset="0"/>
              </a:rPr>
              <a:t>In this demonstration, you will see the C# code required to train the classifier with the images that are being uploaded. In addition code will be displayed that will be used to make a predication.</a:t>
            </a:r>
          </a:p>
          <a:p>
            <a:pPr marL="0" indent="0" defTabSz="986002">
              <a:spcAft>
                <a:spcPts val="359"/>
              </a:spcAft>
              <a:buFont typeface="+mj-lt"/>
              <a:buNone/>
              <a:defRPr/>
            </a:pPr>
            <a:endParaRPr lang="en-US" sz="900" dirty="0">
              <a:cs typeface="Segoe UI Light" panose="020B0502040204020203" pitchFamily="34" charset="0"/>
            </a:endParaRPr>
          </a:p>
          <a:p>
            <a:r>
              <a:rPr lang="en-US" sz="900" b="1" dirty="0"/>
              <a:t>Prerequisites</a:t>
            </a:r>
          </a:p>
          <a:p>
            <a:endParaRPr lang="en-US" sz="900" b="1"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b="1" dirty="0"/>
              <a:t>Previous demo completed</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b="0" dirty="0"/>
              <a:t>Ensure that the previous demo has been completed</a:t>
            </a:r>
            <a:endParaRPr lang="en-US" sz="900" b="1" dirty="0"/>
          </a:p>
          <a:p>
            <a:endParaRPr lang="en-US" sz="900" b="1" dirty="0"/>
          </a:p>
          <a:p>
            <a:r>
              <a:rPr lang="en-US" sz="900" b="1" dirty="0"/>
              <a:t>Platform requirements</a:t>
            </a:r>
          </a:p>
          <a:p>
            <a:r>
              <a:rPr lang="en-US" sz="900" dirty="0"/>
              <a:t>This example has been developed for the .NET Framework using </a:t>
            </a:r>
            <a:r>
              <a:rPr lang="en-US" sz="900" dirty="0">
                <a:hlinkClick r:id="rId3"/>
              </a:rPr>
              <a:t>Visual Studio 2017, Community Edition</a:t>
            </a:r>
            <a:endParaRPr lang="en-US" sz="900" dirty="0"/>
          </a:p>
          <a:p>
            <a:endParaRPr lang="en-US" sz="900" dirty="0"/>
          </a:p>
          <a:p>
            <a:r>
              <a:rPr lang="en-US" sz="900" b="1" dirty="0"/>
              <a:t>Training client library</a:t>
            </a:r>
          </a:p>
          <a:p>
            <a:r>
              <a:rPr lang="en-US" sz="900" dirty="0"/>
              <a:t>You may need to install the client library. The easiest way to get the training client library is to get the </a:t>
            </a:r>
            <a:r>
              <a:rPr lang="en-US" sz="900" dirty="0" err="1">
                <a:hlinkClick r:id="rId4"/>
              </a:rPr>
              <a:t>Microsoft.Cognitive.CustomVision.Training</a:t>
            </a:r>
            <a:r>
              <a:rPr lang="en-US" sz="900" dirty="0"/>
              <a:t> package from </a:t>
            </a:r>
            <a:r>
              <a:rPr lang="en-US" sz="900" dirty="0" err="1">
                <a:hlinkClick r:id="rId5"/>
              </a:rPr>
              <a:t>nuget</a:t>
            </a:r>
            <a:r>
              <a:rPr lang="en-US" sz="900" dirty="0"/>
              <a:t>.</a:t>
            </a:r>
          </a:p>
          <a:p>
            <a:endParaRPr lang="en-US" sz="900" dirty="0"/>
          </a:p>
          <a:p>
            <a:r>
              <a:rPr lang="en-US" sz="900" b="1" dirty="0"/>
              <a:t>The Training API key</a:t>
            </a:r>
          </a:p>
          <a:p>
            <a:r>
              <a:rPr lang="en-US" sz="900" dirty="0"/>
              <a:t>The training API key allows you to create, manage and train Custom Vision projects </a:t>
            </a:r>
            <a:r>
              <a:rPr lang="en-US" sz="900" dirty="0" err="1"/>
              <a:t>programatically</a:t>
            </a:r>
            <a:r>
              <a:rPr lang="en-US" sz="900" dirty="0"/>
              <a:t>. All operations on the </a:t>
            </a:r>
            <a:r>
              <a:rPr lang="en-US" sz="900" dirty="0">
                <a:hlinkClick r:id="rId6"/>
              </a:rPr>
              <a:t>website</a:t>
            </a:r>
            <a:r>
              <a:rPr lang="en-US" sz="900" dirty="0"/>
              <a:t> are exposed through this library, allowing you to automate all aspects of the Custom Vision Service. You can obtain a key by creating a project at </a:t>
            </a:r>
            <a:r>
              <a:rPr lang="en-US" sz="900" dirty="0" err="1"/>
              <a:t>at</a:t>
            </a:r>
            <a:r>
              <a:rPr lang="en-US" sz="900" dirty="0"/>
              <a:t> the website and finding the key in the setting of the project that you have created. Add the following code as instructed to the code you opened up in the previous demo.</a:t>
            </a:r>
          </a:p>
          <a:p>
            <a:endParaRPr lang="en-US" sz="900" dirty="0"/>
          </a:p>
          <a:p>
            <a:r>
              <a:rPr lang="en-US" sz="900" b="1" dirty="0"/>
              <a:t>Step 5: Train the project</a:t>
            </a:r>
          </a:p>
          <a:p>
            <a:endParaRPr lang="en-US" sz="900" b="1" dirty="0"/>
          </a:p>
          <a:p>
            <a:r>
              <a:rPr lang="en-US" sz="900" dirty="0"/>
              <a:t>Now that we've added tags and images to the project, we can train it. Insert the following code after the end of code that you added in step 4.. This creates the first iteration in the project. We can then mark this iteration as the default iteration.</a:t>
            </a:r>
          </a:p>
          <a:p>
            <a:endParaRPr lang="en-US" sz="900" dirty="0"/>
          </a:p>
          <a:p>
            <a:r>
              <a:rPr lang="en-US" sz="900" dirty="0"/>
              <a:t>// Now there are images with tags start training the project </a:t>
            </a:r>
          </a:p>
          <a:p>
            <a:r>
              <a:rPr lang="en-US" sz="900" dirty="0" err="1"/>
              <a:t>Console.WriteLine</a:t>
            </a:r>
            <a:r>
              <a:rPr lang="en-US" sz="900" dirty="0"/>
              <a:t>("\</a:t>
            </a:r>
            <a:r>
              <a:rPr lang="en-US" sz="900" dirty="0" err="1"/>
              <a:t>tTraining</a:t>
            </a:r>
            <a:r>
              <a:rPr lang="en-US" sz="900" dirty="0"/>
              <a:t>"); </a:t>
            </a:r>
          </a:p>
          <a:p>
            <a:r>
              <a:rPr lang="en-US" sz="900" dirty="0" err="1"/>
              <a:t>var</a:t>
            </a:r>
            <a:r>
              <a:rPr lang="en-US" sz="900" dirty="0"/>
              <a:t> iteration = </a:t>
            </a:r>
            <a:r>
              <a:rPr lang="en-US" sz="900" dirty="0" err="1"/>
              <a:t>trainingApi.TrainProject</a:t>
            </a:r>
            <a:r>
              <a:rPr lang="en-US" sz="900" dirty="0"/>
              <a:t>(</a:t>
            </a:r>
            <a:r>
              <a:rPr lang="en-US" sz="900" dirty="0" err="1"/>
              <a:t>project.Id</a:t>
            </a:r>
            <a:r>
              <a:rPr lang="en-US" sz="900" dirty="0"/>
              <a:t>); </a:t>
            </a:r>
          </a:p>
          <a:p>
            <a:endParaRPr lang="en-US" sz="900" dirty="0"/>
          </a:p>
          <a:p>
            <a:r>
              <a:rPr lang="en-US" sz="900" dirty="0"/>
              <a:t>// The returned iteration will be in progress, and can be queried periodically to see when it has completed </a:t>
            </a:r>
          </a:p>
          <a:p>
            <a:r>
              <a:rPr lang="en-US" sz="900" dirty="0"/>
              <a:t>while (</a:t>
            </a:r>
            <a:r>
              <a:rPr lang="en-US" sz="900" dirty="0" err="1"/>
              <a:t>iteration.Status</a:t>
            </a:r>
            <a:r>
              <a:rPr lang="en-US" sz="900" dirty="0"/>
              <a:t> == "Training") </a:t>
            </a:r>
          </a:p>
          <a:p>
            <a:r>
              <a:rPr lang="en-US" sz="900" dirty="0"/>
              <a:t>{</a:t>
            </a:r>
          </a:p>
          <a:p>
            <a:r>
              <a:rPr lang="en-US" sz="900" dirty="0"/>
              <a:t> </a:t>
            </a:r>
            <a:r>
              <a:rPr lang="en-US" sz="900" dirty="0" err="1"/>
              <a:t>Thread.Sleep</a:t>
            </a:r>
            <a:r>
              <a:rPr lang="en-US" sz="900" dirty="0"/>
              <a:t>(1000);</a:t>
            </a:r>
          </a:p>
          <a:p>
            <a:r>
              <a:rPr lang="en-US" sz="900" dirty="0"/>
              <a:t> // Re-query the iteration to get it's updated status</a:t>
            </a:r>
          </a:p>
          <a:p>
            <a:r>
              <a:rPr lang="en-US" sz="900" dirty="0"/>
              <a:t> iteration = </a:t>
            </a:r>
            <a:r>
              <a:rPr lang="en-US" sz="900" dirty="0" err="1"/>
              <a:t>trainingApi.GetIteration</a:t>
            </a:r>
            <a:r>
              <a:rPr lang="en-US" sz="900" dirty="0"/>
              <a:t>(</a:t>
            </a:r>
            <a:r>
              <a:rPr lang="en-US" sz="900" dirty="0" err="1"/>
              <a:t>project.Id</a:t>
            </a:r>
            <a:r>
              <a:rPr lang="en-US" sz="900" dirty="0"/>
              <a:t>, </a:t>
            </a:r>
            <a:r>
              <a:rPr lang="en-US" sz="900" dirty="0" err="1"/>
              <a:t>iteration.Id</a:t>
            </a:r>
            <a:r>
              <a:rPr lang="en-US" sz="900" dirty="0"/>
              <a:t>);</a:t>
            </a:r>
          </a:p>
          <a:p>
            <a:r>
              <a:rPr lang="en-US" sz="900" dirty="0"/>
              <a:t>} </a:t>
            </a:r>
          </a:p>
          <a:p>
            <a:endParaRPr lang="en-US" sz="900" dirty="0"/>
          </a:p>
          <a:p>
            <a:r>
              <a:rPr lang="en-US" sz="900" dirty="0"/>
              <a:t>// The iteration is now trained. Make it the default project endpoint</a:t>
            </a:r>
          </a:p>
          <a:p>
            <a:r>
              <a:rPr lang="en-US" sz="900" dirty="0" err="1"/>
              <a:t>iteration.IsDefault</a:t>
            </a:r>
            <a:r>
              <a:rPr lang="en-US" sz="900" dirty="0"/>
              <a:t> = true;</a:t>
            </a:r>
          </a:p>
          <a:p>
            <a:r>
              <a:rPr lang="en-US" sz="900" dirty="0" err="1"/>
              <a:t>trainingApi.UpdateIteration</a:t>
            </a:r>
            <a:r>
              <a:rPr lang="en-US" sz="900" dirty="0"/>
              <a:t>(</a:t>
            </a:r>
            <a:r>
              <a:rPr lang="en-US" sz="900" dirty="0" err="1"/>
              <a:t>project.Id</a:t>
            </a:r>
            <a:r>
              <a:rPr lang="en-US" sz="900" dirty="0"/>
              <a:t>, </a:t>
            </a:r>
            <a:r>
              <a:rPr lang="en-US" sz="900" dirty="0" err="1"/>
              <a:t>iteration.Id</a:t>
            </a:r>
            <a:r>
              <a:rPr lang="en-US" sz="900" dirty="0"/>
              <a:t>, iteration);</a:t>
            </a:r>
          </a:p>
          <a:p>
            <a:r>
              <a:rPr lang="en-US" sz="900" dirty="0" err="1"/>
              <a:t>Console.WriteLine</a:t>
            </a:r>
            <a:r>
              <a:rPr lang="en-US" sz="900" dirty="0"/>
              <a:t>("Done!\n");</a:t>
            </a:r>
          </a:p>
          <a:p>
            <a:r>
              <a:rPr lang="en-US" sz="900" dirty="0"/>
              <a:t> </a:t>
            </a:r>
          </a:p>
          <a:p>
            <a:r>
              <a:rPr lang="en-US" sz="900" b="1" dirty="0"/>
              <a:t>Step 6: Get and use the default prediction endpoint</a:t>
            </a:r>
          </a:p>
          <a:p>
            <a:r>
              <a:rPr lang="en-US" sz="900" dirty="0"/>
              <a:t>We are now ready to use the model for prediction. First we obtain the endpoint associated with the default iteration. Then we send a test image to the project using that endpoint. Insert the code after the training code you have just entered.</a:t>
            </a:r>
          </a:p>
          <a:p>
            <a:endParaRPr lang="en-US" sz="900" dirty="0"/>
          </a:p>
          <a:p>
            <a:r>
              <a:rPr lang="en-US" sz="900" dirty="0"/>
              <a:t>// Now there is a trained endpoint, it can be used to make a prediction</a:t>
            </a:r>
          </a:p>
          <a:p>
            <a:r>
              <a:rPr lang="en-US" sz="900" dirty="0"/>
              <a:t>// Get the prediction key, which is used in place of the training key when making predictions </a:t>
            </a:r>
          </a:p>
          <a:p>
            <a:r>
              <a:rPr lang="en-US" sz="900" dirty="0" err="1"/>
              <a:t>var</a:t>
            </a:r>
            <a:r>
              <a:rPr lang="en-US" sz="900" dirty="0"/>
              <a:t> account = </a:t>
            </a:r>
            <a:r>
              <a:rPr lang="en-US" sz="900" dirty="0" err="1"/>
              <a:t>trainingApi.GetAccountInfo</a:t>
            </a:r>
            <a:r>
              <a:rPr lang="en-US" sz="900" dirty="0"/>
              <a:t>();</a:t>
            </a:r>
          </a:p>
          <a:p>
            <a:r>
              <a:rPr lang="en-US" sz="900" dirty="0" err="1"/>
              <a:t>var</a:t>
            </a:r>
            <a:r>
              <a:rPr lang="en-US" sz="900" dirty="0"/>
              <a:t> </a:t>
            </a:r>
            <a:r>
              <a:rPr lang="en-US" sz="900" dirty="0" err="1"/>
              <a:t>predictionKey</a:t>
            </a:r>
            <a:r>
              <a:rPr lang="en-US" sz="900" dirty="0"/>
              <a:t> = </a:t>
            </a:r>
            <a:r>
              <a:rPr lang="en-US" sz="900" dirty="0" err="1"/>
              <a:t>account.Keys.PredictionKeys.PrimaryKey</a:t>
            </a:r>
            <a:r>
              <a:rPr lang="en-US" sz="900" dirty="0"/>
              <a:t>; </a:t>
            </a:r>
          </a:p>
          <a:p>
            <a:endParaRPr lang="en-US" sz="900" dirty="0"/>
          </a:p>
          <a:p>
            <a:r>
              <a:rPr lang="en-US" sz="900" dirty="0"/>
              <a:t>// Create a prediction endpoint, passing in a prediction credentials object that contains the obtained prediction key</a:t>
            </a:r>
          </a:p>
          <a:p>
            <a:r>
              <a:rPr lang="en-US" sz="900" dirty="0" err="1"/>
              <a:t>PredictionEndpointCredentials</a:t>
            </a:r>
            <a:r>
              <a:rPr lang="en-US" sz="900" dirty="0"/>
              <a:t> </a:t>
            </a:r>
            <a:r>
              <a:rPr lang="en-US" sz="900" dirty="0" err="1"/>
              <a:t>predictionEndpointCredentials</a:t>
            </a:r>
            <a:r>
              <a:rPr lang="en-US" sz="900" dirty="0"/>
              <a:t> = new </a:t>
            </a:r>
            <a:r>
              <a:rPr lang="en-US" sz="900" dirty="0" err="1"/>
              <a:t>PredictionEndpointCredentials</a:t>
            </a:r>
            <a:r>
              <a:rPr lang="en-US" sz="900" dirty="0"/>
              <a:t>(</a:t>
            </a:r>
            <a:r>
              <a:rPr lang="en-US" sz="900" dirty="0" err="1"/>
              <a:t>predictionKey</a:t>
            </a:r>
            <a:r>
              <a:rPr lang="en-US" sz="900" dirty="0"/>
              <a:t>);</a:t>
            </a:r>
          </a:p>
          <a:p>
            <a:r>
              <a:rPr lang="en-US" sz="900" dirty="0" err="1"/>
              <a:t>PredictionEndpoint</a:t>
            </a:r>
            <a:r>
              <a:rPr lang="en-US" sz="900" dirty="0"/>
              <a:t> endpoint = new </a:t>
            </a:r>
            <a:r>
              <a:rPr lang="en-US" sz="900" dirty="0" err="1"/>
              <a:t>PredictionEndpoint</a:t>
            </a:r>
            <a:r>
              <a:rPr lang="en-US" sz="900" dirty="0"/>
              <a:t>(</a:t>
            </a:r>
            <a:r>
              <a:rPr lang="en-US" sz="900" dirty="0" err="1"/>
              <a:t>predictionEndpointCredentials</a:t>
            </a:r>
            <a:r>
              <a:rPr lang="en-US" sz="900" dirty="0"/>
              <a:t>);</a:t>
            </a:r>
          </a:p>
          <a:p>
            <a:endParaRPr lang="en-US" sz="900" dirty="0"/>
          </a:p>
          <a:p>
            <a:r>
              <a:rPr lang="en-US" sz="900" dirty="0"/>
              <a:t>// Make a prediction against the new project </a:t>
            </a:r>
          </a:p>
          <a:p>
            <a:r>
              <a:rPr lang="en-US" sz="900" dirty="0" err="1"/>
              <a:t>Console.WriteLine</a:t>
            </a:r>
            <a:r>
              <a:rPr lang="en-US" sz="900" dirty="0"/>
              <a:t>("Making a prediction:"); </a:t>
            </a:r>
          </a:p>
          <a:p>
            <a:r>
              <a:rPr lang="en-US" sz="900" dirty="0" err="1"/>
              <a:t>var</a:t>
            </a:r>
            <a:r>
              <a:rPr lang="en-US" sz="900" dirty="0"/>
              <a:t> result = </a:t>
            </a:r>
            <a:r>
              <a:rPr lang="en-US" sz="900" dirty="0" err="1"/>
              <a:t>endpoint.PredictImage</a:t>
            </a:r>
            <a:r>
              <a:rPr lang="en-US" sz="900" dirty="0"/>
              <a:t>(</a:t>
            </a:r>
            <a:r>
              <a:rPr lang="en-US" sz="900" dirty="0" err="1"/>
              <a:t>project.Id</a:t>
            </a:r>
            <a:r>
              <a:rPr lang="en-US" sz="900" dirty="0"/>
              <a:t>, </a:t>
            </a:r>
            <a:r>
              <a:rPr lang="en-US" sz="900" dirty="0" err="1"/>
              <a:t>testImage</a:t>
            </a:r>
            <a:r>
              <a:rPr lang="en-US" sz="900" dirty="0"/>
              <a:t>); </a:t>
            </a:r>
          </a:p>
          <a:p>
            <a:endParaRPr lang="en-US" sz="900" dirty="0"/>
          </a:p>
          <a:p>
            <a:r>
              <a:rPr lang="en-US" sz="900" dirty="0"/>
              <a:t>// Loop over each prediction and write out the results </a:t>
            </a:r>
          </a:p>
          <a:p>
            <a:r>
              <a:rPr lang="en-US" sz="900" dirty="0" err="1"/>
              <a:t>foreach</a:t>
            </a:r>
            <a:r>
              <a:rPr lang="en-US" sz="900" dirty="0"/>
              <a:t> (</a:t>
            </a:r>
            <a:r>
              <a:rPr lang="en-US" sz="900" dirty="0" err="1"/>
              <a:t>var</a:t>
            </a:r>
            <a:r>
              <a:rPr lang="en-US" sz="900" dirty="0"/>
              <a:t> c in </a:t>
            </a:r>
            <a:r>
              <a:rPr lang="en-US" sz="900" dirty="0" err="1"/>
              <a:t>result.Predictions</a:t>
            </a:r>
            <a:r>
              <a:rPr lang="en-US" sz="900" dirty="0"/>
              <a:t>) </a:t>
            </a:r>
          </a:p>
          <a:p>
            <a:r>
              <a:rPr lang="en-US" sz="900" dirty="0"/>
              <a:t>{</a:t>
            </a:r>
          </a:p>
          <a:p>
            <a:r>
              <a:rPr lang="en-US" sz="900" dirty="0"/>
              <a:t> </a:t>
            </a:r>
            <a:r>
              <a:rPr lang="en-US" sz="900" dirty="0" err="1"/>
              <a:t>Console.WriteLine</a:t>
            </a:r>
            <a:r>
              <a:rPr lang="en-US" sz="900" dirty="0"/>
              <a:t>($"\t{</a:t>
            </a:r>
            <a:r>
              <a:rPr lang="en-US" sz="900" dirty="0" err="1"/>
              <a:t>c.Tag</a:t>
            </a:r>
            <a:r>
              <a:rPr lang="en-US" sz="900" dirty="0"/>
              <a:t>}: {c.Probability:P1}"); </a:t>
            </a:r>
          </a:p>
          <a:p>
            <a:r>
              <a:rPr lang="en-US" sz="900" dirty="0"/>
              <a:t>} </a:t>
            </a:r>
          </a:p>
          <a:p>
            <a:r>
              <a:rPr lang="en-US" sz="900" dirty="0" err="1"/>
              <a:t>Console.ReadKey</a:t>
            </a:r>
            <a:r>
              <a:rPr lang="en-US" sz="900" dirty="0"/>
              <a:t>(); </a:t>
            </a:r>
          </a:p>
          <a:p>
            <a:endParaRPr lang="en-US" sz="900" dirty="0"/>
          </a:p>
          <a:p>
            <a:r>
              <a:rPr lang="en-US" sz="900" b="1" dirty="0"/>
              <a:t>Step 7: Run the example</a:t>
            </a:r>
          </a:p>
          <a:p>
            <a:r>
              <a:rPr lang="en-US" sz="900" dirty="0"/>
              <a:t>Build and run the solution. You will be required to input your training API key into the console app when </a:t>
            </a:r>
            <a:r>
              <a:rPr lang="en-US" sz="900" dirty="0" err="1"/>
              <a:t>runing</a:t>
            </a:r>
            <a:r>
              <a:rPr lang="en-US" sz="900" dirty="0"/>
              <a:t> the solution so have this at the ready. The training and prediction of the images can take 2 mins The prediction results appear on the console. the console.</a:t>
            </a:r>
          </a:p>
          <a:p>
            <a:pPr marL="0" indent="0" defTabSz="986002">
              <a:spcAft>
                <a:spcPts val="359"/>
              </a:spcAft>
              <a:buFont typeface="+mj-lt"/>
              <a:buNone/>
              <a:defRPr/>
            </a:pPr>
            <a:endParaRPr lang="en-US" sz="900" dirty="0">
              <a:cs typeface="Segoe UI Light" panose="020B0502040204020203" pitchFamily="34" charset="0"/>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Machine Learning, Analytics, &amp; Data Science Conference</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76134C8-AC9E-49DD-B3D6-722B1A93F18D}"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0/2018 3:28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7806747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74320" y="4217670"/>
            <a:ext cx="6297930" cy="4594860"/>
          </a:xfrm>
        </p:spPr>
        <p:txBody>
          <a:bodyPr/>
          <a:lstStyle/>
          <a:p>
            <a:pPr marL="0" indent="0">
              <a:buFont typeface="+mj-lt"/>
              <a:buNone/>
            </a:pPr>
            <a:r>
              <a:rPr lang="en-US" sz="1000" b="0" dirty="0"/>
              <a:t>This page has been intentionally left blank. </a:t>
            </a:r>
          </a:p>
          <a:p>
            <a:pPr marL="0" indent="0">
              <a:buFont typeface="+mj-lt"/>
              <a:buNone/>
            </a:pPr>
            <a:endParaRPr lang="en-US" sz="1000" b="0" dirty="0"/>
          </a:p>
          <a:p>
            <a:pPr marL="0" indent="0">
              <a:buFont typeface="+mj-lt"/>
              <a:buNone/>
            </a:pPr>
            <a:r>
              <a:rPr lang="en-US" sz="1000" b="0" dirty="0"/>
              <a:t>The instructor will walk through the code either from the PowerPoint slide or from the source code in Visual Studio.</a:t>
            </a: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4"/>
          </p:nvPr>
        </p:nvSpPr>
        <p:spPr>
          <a:xfrm>
            <a:off x="0" y="9121140"/>
            <a:ext cx="6315456" cy="373762"/>
          </a:xfrm>
        </p:spPr>
        <p:txBody>
          <a:bodyPr/>
          <a:lstStyle/>
          <a:p>
            <a:pPr defTabSz="966294"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7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15107291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is section of the course will cover:</a:t>
            </a:r>
          </a:p>
          <a:p>
            <a:endParaRPr lang="en-GB" dirty="0"/>
          </a:p>
          <a:p>
            <a:pPr marL="181240" indent="-181240">
              <a:buFont typeface="Arial" panose="020B0604020202020204" pitchFamily="34" charset="0"/>
              <a:buChar char="•"/>
            </a:pPr>
            <a:r>
              <a:rPr lang="en-GB" dirty="0"/>
              <a:t>What is Cognitive Services</a:t>
            </a:r>
          </a:p>
          <a:p>
            <a:pPr marL="181240" marR="0" lvl="0" indent="-18124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GB" dirty="0"/>
              <a:t>Cognitive Services Capabilities</a:t>
            </a:r>
          </a:p>
          <a:p>
            <a:pPr marL="181240" marR="0" lvl="0" indent="-18124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GB" dirty="0"/>
              <a:t>Cognitive Services Capability breakdown</a:t>
            </a:r>
          </a:p>
          <a:p>
            <a:pPr marL="181240" marR="0" lvl="0" indent="-18124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GB" dirty="0"/>
              <a:t>Cognitive Services –Vision APIs</a:t>
            </a:r>
          </a:p>
          <a:p>
            <a:endParaRPr lang="en-GB" dirty="0"/>
          </a:p>
        </p:txBody>
      </p:sp>
      <p:sp>
        <p:nvSpPr>
          <p:cNvPr id="5" name="Footer Placeholder 4"/>
          <p:cNvSpPr>
            <a:spLocks noGrp="1"/>
          </p:cNvSpPr>
          <p:nvPr>
            <p:ph type="ftr" sz="quarter" idx="11"/>
          </p:nvPr>
        </p:nvSpPr>
        <p:spPr/>
        <p:txBody>
          <a:bodyPr/>
          <a:lstStyle/>
          <a:p>
            <a:pPr defTabSz="966294"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7 Microsoft Corporation. All rights reserved. MICROSOFT MAKES NO WARRANTIES, EXPRESS, IMPLIED OR STATUTORY, AS TO THE INFORMATION IN THIS PRESENTATION.</a:t>
            </a:r>
          </a:p>
        </p:txBody>
      </p:sp>
      <p:sp>
        <p:nvSpPr>
          <p:cNvPr id="7" name="Slide Number Placeholder 6"/>
          <p:cNvSpPr>
            <a:spLocks noGrp="1"/>
          </p:cNvSpPr>
          <p:nvPr>
            <p:ph type="sldNum" sz="quarter" idx="13"/>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191512158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2981793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dirty="0"/>
              <a:t>Modifying Custom Vision Solution</a:t>
            </a:r>
          </a:p>
          <a:p>
            <a:r>
              <a:rPr lang="en-US" sz="1200" dirty="0"/>
              <a:t>In this lab you will take the solution from Demo’s and modify the code to upload a new set of images, add tags to it; train the project and obtain the default prediction endpoint URL for the project. You will then use the endpoint to programmatically test an image. You can use this open source example as a template for building your own app for Windows using the Custom Vision API.</a:t>
            </a:r>
          </a:p>
          <a:p>
            <a:endParaRPr lang="en-US" sz="1200" dirty="0"/>
          </a:p>
          <a:p>
            <a:r>
              <a:rPr lang="en-US" sz="1200" b="1" dirty="0"/>
              <a:t>Prerequisites</a:t>
            </a:r>
          </a:p>
          <a:p>
            <a:endParaRPr lang="en-US" sz="1200" b="1" dirty="0"/>
          </a:p>
          <a:p>
            <a:r>
              <a:rPr lang="en-US" sz="1200" b="1" dirty="0"/>
              <a:t>Platform requirements</a:t>
            </a:r>
          </a:p>
          <a:p>
            <a:r>
              <a:rPr lang="en-US" sz="1200" dirty="0"/>
              <a:t>This example has been developed for the .NET Framework using </a:t>
            </a:r>
            <a:r>
              <a:rPr lang="en-US" sz="1200" dirty="0">
                <a:hlinkClick r:id="rId3"/>
              </a:rPr>
              <a:t>Visual Studio 2017, Community Edition</a:t>
            </a:r>
            <a:endParaRPr lang="en-US" sz="1200" dirty="0"/>
          </a:p>
          <a:p>
            <a:endParaRPr lang="en-US" sz="1200" dirty="0"/>
          </a:p>
          <a:p>
            <a:r>
              <a:rPr lang="en-US" sz="1200" b="1" dirty="0"/>
              <a:t>Training client library</a:t>
            </a:r>
          </a:p>
          <a:p>
            <a:r>
              <a:rPr lang="en-US" sz="1200" dirty="0"/>
              <a:t>You may need to install the client library. The easiest way to get the training client library is to get the </a:t>
            </a:r>
            <a:r>
              <a:rPr lang="en-US" sz="1200" dirty="0" err="1">
                <a:hlinkClick r:id="rId4"/>
              </a:rPr>
              <a:t>Microsoft.Cognitive.CustomVision.Training</a:t>
            </a:r>
            <a:r>
              <a:rPr lang="en-US" sz="1200" dirty="0"/>
              <a:t> package from </a:t>
            </a:r>
            <a:r>
              <a:rPr lang="en-US" sz="1200" dirty="0" err="1">
                <a:hlinkClick r:id="rId5"/>
              </a:rPr>
              <a:t>nuget</a:t>
            </a:r>
            <a:r>
              <a:rPr lang="en-US" sz="1200" dirty="0"/>
              <a:t>.</a:t>
            </a:r>
          </a:p>
          <a:p>
            <a:endParaRPr lang="en-US" sz="1200" dirty="0"/>
          </a:p>
          <a:p>
            <a:r>
              <a:rPr lang="en-US" sz="1200" b="1" dirty="0"/>
              <a:t>The Training API key</a:t>
            </a:r>
          </a:p>
          <a:p>
            <a:r>
              <a:rPr lang="en-US" sz="1200" dirty="0"/>
              <a:t>The training API key allows you to create, manage and train Custom Vision projects </a:t>
            </a:r>
            <a:r>
              <a:rPr lang="en-US" sz="1200" dirty="0" err="1"/>
              <a:t>programatically</a:t>
            </a:r>
            <a:r>
              <a:rPr lang="en-US" sz="1200" dirty="0"/>
              <a:t>. All operations on the </a:t>
            </a:r>
            <a:r>
              <a:rPr lang="en-US" sz="1200" dirty="0" err="1">
                <a:hlinkClick r:id="rId6"/>
              </a:rPr>
              <a:t>website</a:t>
            </a:r>
            <a:r>
              <a:rPr lang="en-US" sz="1200" dirty="0" err="1"/>
              <a:t>are</a:t>
            </a:r>
            <a:r>
              <a:rPr lang="en-US" sz="1200" dirty="0"/>
              <a:t> exposed through this library, allowing you to automate all aspects of the Custom Vision Service. You can obtain a key by creating a project at </a:t>
            </a:r>
            <a:r>
              <a:rPr lang="en-US" sz="1200" dirty="0" err="1"/>
              <a:t>at</a:t>
            </a:r>
            <a:r>
              <a:rPr lang="en-US" sz="1200" dirty="0"/>
              <a:t> the website and finding the key in the setting of the project that you have created.</a:t>
            </a:r>
          </a:p>
          <a:p>
            <a:br>
              <a:rPr lang="en-US" sz="1200" b="1" dirty="0"/>
            </a:br>
            <a:r>
              <a:rPr lang="en-US" sz="1200" b="1" dirty="0"/>
              <a:t>Lab: Modifying a Custom Vision Application</a:t>
            </a:r>
          </a:p>
          <a:p>
            <a:endParaRPr lang="en-US" sz="1200" b="1" dirty="0"/>
          </a:p>
          <a:p>
            <a:r>
              <a:rPr lang="en-US" sz="1200" b="1" dirty="0"/>
              <a:t>Step 1: Create a console application and prepare the training key and the images needed for the example.</a:t>
            </a:r>
          </a:p>
          <a:p>
            <a:r>
              <a:rPr lang="en-US" sz="1200" dirty="0"/>
              <a:t>Start Visual Studio 2017, Community Edition, open the Visual Studio solution named CustomVision.Sample.sln in location \Lab\Starter\Cognitive-</a:t>
            </a:r>
            <a:r>
              <a:rPr lang="en-US" sz="1200" dirty="0" err="1"/>
              <a:t>CustomVision</a:t>
            </a:r>
            <a:r>
              <a:rPr lang="en-US" sz="1200" dirty="0"/>
              <a:t>-Windows\Samples\</a:t>
            </a:r>
            <a:r>
              <a:rPr lang="en-US" sz="1200" dirty="0" err="1"/>
              <a:t>CustomVision.Sample</a:t>
            </a:r>
            <a:r>
              <a:rPr lang="en-US" sz="1200" dirty="0"/>
              <a:t>. This code defines a solution for training images using a custom.ai training key. It then performs a classification prediction on a test image that is uploaded. On opening the project the following code should be displayed from line 35.</a:t>
            </a:r>
          </a:p>
          <a:p>
            <a:endParaRPr lang="en-US" sz="1200" dirty="0"/>
          </a:p>
          <a:p>
            <a:r>
              <a:rPr lang="en-US" sz="1200" dirty="0"/>
              <a:t>using System; </a:t>
            </a:r>
          </a:p>
          <a:p>
            <a:r>
              <a:rPr lang="en-US" sz="1200" dirty="0"/>
              <a:t>using </a:t>
            </a:r>
            <a:r>
              <a:rPr lang="en-US" sz="1200" dirty="0" err="1"/>
              <a:t>System.Collections.Generic</a:t>
            </a:r>
            <a:r>
              <a:rPr lang="en-US" sz="1200" dirty="0"/>
              <a:t>; </a:t>
            </a:r>
          </a:p>
          <a:p>
            <a:r>
              <a:rPr lang="en-US" sz="1200" dirty="0"/>
              <a:t>using System.IO; </a:t>
            </a:r>
          </a:p>
          <a:p>
            <a:r>
              <a:rPr lang="en-US" sz="1200" dirty="0"/>
              <a:t>using </a:t>
            </a:r>
            <a:r>
              <a:rPr lang="en-US" sz="1200" dirty="0" err="1"/>
              <a:t>System.Linq</a:t>
            </a:r>
            <a:r>
              <a:rPr lang="en-US" sz="1200" dirty="0"/>
              <a:t>; </a:t>
            </a:r>
          </a:p>
          <a:p>
            <a:r>
              <a:rPr lang="en-US" sz="1200" dirty="0"/>
              <a:t>using </a:t>
            </a:r>
            <a:r>
              <a:rPr lang="en-US" sz="1200" dirty="0" err="1"/>
              <a:t>System.Threading</a:t>
            </a:r>
            <a:r>
              <a:rPr lang="en-US" sz="1200" dirty="0"/>
              <a:t>; </a:t>
            </a:r>
          </a:p>
          <a:p>
            <a:r>
              <a:rPr lang="en-US" sz="1200" dirty="0"/>
              <a:t>using </a:t>
            </a:r>
            <a:r>
              <a:rPr lang="en-US" sz="1200" dirty="0" err="1"/>
              <a:t>Microsoft.Cognitive.CustomVision</a:t>
            </a:r>
            <a:r>
              <a:rPr lang="en-US" sz="1200" dirty="0"/>
              <a:t>; </a:t>
            </a:r>
          </a:p>
          <a:p>
            <a:endParaRPr lang="en-US" sz="1200" dirty="0"/>
          </a:p>
          <a:p>
            <a:r>
              <a:rPr lang="en-US" sz="1200" dirty="0"/>
              <a:t>namespace </a:t>
            </a:r>
            <a:r>
              <a:rPr lang="en-US" sz="1200" dirty="0" err="1"/>
              <a:t>CustomVision.Sample</a:t>
            </a:r>
            <a:r>
              <a:rPr lang="en-US" sz="1200" dirty="0"/>
              <a:t> </a:t>
            </a:r>
          </a:p>
          <a:p>
            <a:r>
              <a:rPr lang="en-US" sz="1200" dirty="0"/>
              <a:t>{</a:t>
            </a:r>
          </a:p>
          <a:p>
            <a:r>
              <a:rPr lang="en-US" sz="1200" dirty="0"/>
              <a:t> class Program</a:t>
            </a:r>
          </a:p>
          <a:p>
            <a:r>
              <a:rPr lang="en-US" sz="1200" dirty="0"/>
              <a:t> {</a:t>
            </a:r>
          </a:p>
          <a:p>
            <a:r>
              <a:rPr lang="en-US" sz="1200" dirty="0"/>
              <a:t>   private static List&lt;</a:t>
            </a:r>
            <a:r>
              <a:rPr lang="en-US" sz="1200" dirty="0" err="1"/>
              <a:t>MemoryStream</a:t>
            </a:r>
            <a:r>
              <a:rPr lang="en-US" sz="1200" dirty="0"/>
              <a:t>&gt; </a:t>
            </a:r>
            <a:r>
              <a:rPr lang="en-US" sz="1200" dirty="0" err="1"/>
              <a:t>hemlockImages</a:t>
            </a:r>
            <a:r>
              <a:rPr lang="en-US" sz="1200" dirty="0"/>
              <a:t>; </a:t>
            </a:r>
          </a:p>
          <a:p>
            <a:r>
              <a:rPr lang="en-US" sz="1200" dirty="0"/>
              <a:t>   private static List&lt;</a:t>
            </a:r>
            <a:r>
              <a:rPr lang="en-US" sz="1200" dirty="0" err="1"/>
              <a:t>MemoryStream</a:t>
            </a:r>
            <a:r>
              <a:rPr lang="en-US" sz="1200" dirty="0"/>
              <a:t>&gt; </a:t>
            </a:r>
            <a:r>
              <a:rPr lang="en-US" sz="1200" dirty="0" err="1"/>
              <a:t>japaneseCherryImages</a:t>
            </a:r>
            <a:r>
              <a:rPr lang="en-US" sz="1200" dirty="0"/>
              <a:t>; </a:t>
            </a:r>
          </a:p>
          <a:p>
            <a:r>
              <a:rPr lang="en-US" sz="1200" dirty="0"/>
              <a:t>   private static </a:t>
            </a:r>
            <a:r>
              <a:rPr lang="en-US" sz="1200" dirty="0" err="1"/>
              <a:t>MemoryStream</a:t>
            </a:r>
            <a:r>
              <a:rPr lang="en-US" sz="1200" dirty="0"/>
              <a:t> </a:t>
            </a:r>
            <a:r>
              <a:rPr lang="en-US" sz="1200" dirty="0" err="1"/>
              <a:t>testImage</a:t>
            </a:r>
            <a:r>
              <a:rPr lang="en-US" sz="1200" dirty="0"/>
              <a:t>; </a:t>
            </a:r>
          </a:p>
          <a:p>
            <a:endParaRPr lang="en-US" sz="1200" dirty="0"/>
          </a:p>
          <a:p>
            <a:r>
              <a:rPr lang="en-US" sz="1200" dirty="0"/>
              <a:t>   static void Main(string[] </a:t>
            </a:r>
            <a:r>
              <a:rPr lang="en-US" sz="1200" dirty="0" err="1"/>
              <a:t>args</a:t>
            </a:r>
            <a:r>
              <a:rPr lang="en-US" sz="1200" dirty="0"/>
              <a:t>) </a:t>
            </a:r>
          </a:p>
          <a:p>
            <a:r>
              <a:rPr lang="en-US" sz="1200" dirty="0"/>
              <a:t>   { </a:t>
            </a:r>
          </a:p>
          <a:p>
            <a:r>
              <a:rPr lang="en-US" sz="1200" dirty="0"/>
              <a:t>   // You can either add your training key here, pass it on the command line, or type it in when the program runs </a:t>
            </a:r>
          </a:p>
          <a:p>
            <a:r>
              <a:rPr lang="en-US" sz="1200" dirty="0"/>
              <a:t>   string </a:t>
            </a:r>
            <a:r>
              <a:rPr lang="en-US" sz="1200" dirty="0" err="1"/>
              <a:t>trainingKey</a:t>
            </a:r>
            <a:r>
              <a:rPr lang="en-US" sz="1200" dirty="0"/>
              <a:t> = </a:t>
            </a:r>
            <a:r>
              <a:rPr lang="en-US" sz="1200" dirty="0" err="1"/>
              <a:t>GetTrainingKey</a:t>
            </a:r>
            <a:r>
              <a:rPr lang="en-US" sz="1200" dirty="0"/>
              <a:t>("&lt;your key here&gt;", </a:t>
            </a:r>
            <a:r>
              <a:rPr lang="en-US" sz="1200" dirty="0" err="1"/>
              <a:t>args</a:t>
            </a:r>
            <a:r>
              <a:rPr lang="en-US" sz="1200" dirty="0"/>
              <a:t>); </a:t>
            </a:r>
          </a:p>
          <a:p>
            <a:endParaRPr lang="en-US" sz="1200" dirty="0"/>
          </a:p>
          <a:p>
            <a:r>
              <a:rPr lang="en-US" sz="1200" dirty="0"/>
              <a:t>   // Create the </a:t>
            </a:r>
            <a:r>
              <a:rPr lang="en-US" sz="1200" dirty="0" err="1"/>
              <a:t>Api</a:t>
            </a:r>
            <a:r>
              <a:rPr lang="en-US" sz="1200" dirty="0"/>
              <a:t>, passing in a credentials object that contains the training key</a:t>
            </a:r>
          </a:p>
          <a:p>
            <a:r>
              <a:rPr lang="en-US" sz="1200" dirty="0"/>
              <a:t>   </a:t>
            </a:r>
            <a:r>
              <a:rPr lang="en-US" sz="1200" dirty="0" err="1"/>
              <a:t>TrainingApiCredentials</a:t>
            </a:r>
            <a:r>
              <a:rPr lang="en-US" sz="1200" dirty="0"/>
              <a:t> </a:t>
            </a:r>
            <a:r>
              <a:rPr lang="en-US" sz="1200" dirty="0" err="1"/>
              <a:t>trainingCredentials</a:t>
            </a:r>
            <a:r>
              <a:rPr lang="en-US" sz="1200" dirty="0"/>
              <a:t> = new </a:t>
            </a:r>
            <a:r>
              <a:rPr lang="en-US" sz="1200" dirty="0" err="1"/>
              <a:t>TrainingApiCredentials</a:t>
            </a:r>
            <a:r>
              <a:rPr lang="en-US" sz="1200" dirty="0"/>
              <a:t>(</a:t>
            </a:r>
            <a:r>
              <a:rPr lang="en-US" sz="1200" dirty="0" err="1"/>
              <a:t>trainingKey</a:t>
            </a:r>
            <a:r>
              <a:rPr lang="en-US" sz="1200" dirty="0"/>
              <a:t>);</a:t>
            </a:r>
          </a:p>
          <a:p>
            <a:r>
              <a:rPr lang="en-US" sz="1200" dirty="0"/>
              <a:t>   </a:t>
            </a:r>
            <a:r>
              <a:rPr lang="en-US" sz="1200" dirty="0" err="1"/>
              <a:t>TrainingApi</a:t>
            </a:r>
            <a:r>
              <a:rPr lang="en-US" sz="1200" dirty="0"/>
              <a:t> </a:t>
            </a:r>
            <a:r>
              <a:rPr lang="en-US" sz="1200" dirty="0" err="1"/>
              <a:t>trainingApi</a:t>
            </a:r>
            <a:r>
              <a:rPr lang="en-US" sz="1200" dirty="0"/>
              <a:t> = new </a:t>
            </a:r>
            <a:r>
              <a:rPr lang="en-US" sz="1200" dirty="0" err="1"/>
              <a:t>TrainingApi</a:t>
            </a:r>
            <a:r>
              <a:rPr lang="en-US" sz="1200" dirty="0"/>
              <a:t>(</a:t>
            </a:r>
            <a:r>
              <a:rPr lang="en-US" sz="1200" dirty="0" err="1"/>
              <a:t>trainingCredentials</a:t>
            </a:r>
            <a:r>
              <a:rPr lang="en-US" sz="1200" dirty="0"/>
              <a:t>); </a:t>
            </a:r>
          </a:p>
          <a:p>
            <a:endParaRPr lang="en-US" sz="1200" dirty="0"/>
          </a:p>
          <a:p>
            <a:r>
              <a:rPr lang="en-US" sz="1200" dirty="0"/>
              <a:t>   // Create a new project </a:t>
            </a:r>
          </a:p>
          <a:p>
            <a:r>
              <a:rPr lang="en-US" sz="1200" dirty="0"/>
              <a:t>   </a:t>
            </a:r>
            <a:r>
              <a:rPr lang="en-US" sz="1200" dirty="0" err="1"/>
              <a:t>Console.WriteLine</a:t>
            </a:r>
            <a:r>
              <a:rPr lang="en-US" sz="1200" dirty="0"/>
              <a:t>("Creating new project:"); </a:t>
            </a:r>
          </a:p>
          <a:p>
            <a:r>
              <a:rPr lang="en-US" sz="1200" dirty="0"/>
              <a:t>   </a:t>
            </a:r>
            <a:r>
              <a:rPr lang="en-US" sz="1200" dirty="0" err="1"/>
              <a:t>var</a:t>
            </a:r>
            <a:r>
              <a:rPr lang="en-US" sz="1200" dirty="0"/>
              <a:t> project = </a:t>
            </a:r>
            <a:r>
              <a:rPr lang="en-US" sz="1200" dirty="0" err="1"/>
              <a:t>trainingApi.CreateProject</a:t>
            </a:r>
            <a:r>
              <a:rPr lang="en-US" sz="1200" dirty="0"/>
              <a:t>("My New Project"); </a:t>
            </a:r>
          </a:p>
          <a:p>
            <a:endParaRPr lang="en-US" sz="1200" dirty="0"/>
          </a:p>
          <a:p>
            <a:r>
              <a:rPr lang="en-US" sz="1200" dirty="0"/>
              <a:t>  // Make two tags in the new project </a:t>
            </a:r>
          </a:p>
          <a:p>
            <a:r>
              <a:rPr lang="en-US" sz="1200" dirty="0"/>
              <a:t>  </a:t>
            </a:r>
            <a:r>
              <a:rPr lang="en-US" sz="1200" dirty="0" err="1"/>
              <a:t>var</a:t>
            </a:r>
            <a:r>
              <a:rPr lang="en-US" sz="1200" dirty="0"/>
              <a:t> </a:t>
            </a:r>
            <a:r>
              <a:rPr lang="en-US" sz="1200" dirty="0" err="1"/>
              <a:t>hemlockTag</a:t>
            </a:r>
            <a:r>
              <a:rPr lang="en-US" sz="1200" dirty="0"/>
              <a:t> = </a:t>
            </a:r>
            <a:r>
              <a:rPr lang="en-US" sz="1200" dirty="0" err="1"/>
              <a:t>trainingApi.CreateTag</a:t>
            </a:r>
            <a:r>
              <a:rPr lang="en-US" sz="1200" dirty="0"/>
              <a:t>(</a:t>
            </a:r>
            <a:r>
              <a:rPr lang="en-US" sz="1200" dirty="0" err="1"/>
              <a:t>project.Id</a:t>
            </a:r>
            <a:r>
              <a:rPr lang="en-US" sz="1200" dirty="0"/>
              <a:t>, "Hemlock"); </a:t>
            </a:r>
          </a:p>
          <a:p>
            <a:r>
              <a:rPr lang="en-US" sz="1200" dirty="0"/>
              <a:t>  </a:t>
            </a:r>
            <a:r>
              <a:rPr lang="en-US" sz="1200" dirty="0" err="1"/>
              <a:t>var</a:t>
            </a:r>
            <a:r>
              <a:rPr lang="en-US" sz="1200" dirty="0"/>
              <a:t> </a:t>
            </a:r>
            <a:r>
              <a:rPr lang="en-US" sz="1200" dirty="0" err="1"/>
              <a:t>japaneseCherryTag</a:t>
            </a:r>
            <a:r>
              <a:rPr lang="en-US" sz="1200" dirty="0"/>
              <a:t> = </a:t>
            </a:r>
            <a:r>
              <a:rPr lang="en-US" sz="1200" dirty="0" err="1"/>
              <a:t>trainingApi.CreateTag</a:t>
            </a:r>
            <a:r>
              <a:rPr lang="en-US" sz="1200" dirty="0"/>
              <a:t>(</a:t>
            </a:r>
            <a:r>
              <a:rPr lang="en-US" sz="1200" dirty="0" err="1"/>
              <a:t>project.Id</a:t>
            </a:r>
            <a:r>
              <a:rPr lang="en-US" sz="1200" dirty="0"/>
              <a:t>, "Japanese Cherry"); </a:t>
            </a:r>
          </a:p>
          <a:p>
            <a:endParaRPr lang="en-US" sz="1200" dirty="0"/>
          </a:p>
          <a:p>
            <a:r>
              <a:rPr lang="en-US" sz="1200" dirty="0"/>
              <a:t>  // Add some images to the tags </a:t>
            </a:r>
          </a:p>
          <a:p>
            <a:r>
              <a:rPr lang="en-US" sz="1200" dirty="0"/>
              <a:t>  </a:t>
            </a:r>
            <a:r>
              <a:rPr lang="en-US" sz="1200" dirty="0" err="1"/>
              <a:t>Console.WriteLine</a:t>
            </a:r>
            <a:r>
              <a:rPr lang="en-US" sz="1200" dirty="0"/>
              <a:t>("\</a:t>
            </a:r>
            <a:r>
              <a:rPr lang="en-US" sz="1200" dirty="0" err="1"/>
              <a:t>tUploading</a:t>
            </a:r>
            <a:r>
              <a:rPr lang="en-US" sz="1200" dirty="0"/>
              <a:t> images"); </a:t>
            </a:r>
          </a:p>
          <a:p>
            <a:r>
              <a:rPr lang="en-US" sz="1200" dirty="0"/>
              <a:t>  </a:t>
            </a:r>
            <a:r>
              <a:rPr lang="en-US" sz="1200" dirty="0" err="1"/>
              <a:t>LoadImagesFromDisk</a:t>
            </a:r>
            <a:r>
              <a:rPr lang="en-US" sz="1200" dirty="0"/>
              <a:t>(); </a:t>
            </a:r>
          </a:p>
          <a:p>
            <a:endParaRPr lang="en-US" sz="1200" dirty="0"/>
          </a:p>
          <a:p>
            <a:r>
              <a:rPr lang="en-US" sz="1200" dirty="0"/>
              <a:t>  // Images can be uploaded one at a time </a:t>
            </a:r>
          </a:p>
          <a:p>
            <a:r>
              <a:rPr lang="en-US" sz="1200" dirty="0"/>
              <a:t>  </a:t>
            </a:r>
            <a:r>
              <a:rPr lang="en-US" sz="1200" dirty="0" err="1"/>
              <a:t>foreach</a:t>
            </a:r>
            <a:r>
              <a:rPr lang="en-US" sz="1200" dirty="0"/>
              <a:t> (</a:t>
            </a:r>
            <a:r>
              <a:rPr lang="en-US" sz="1200" dirty="0" err="1"/>
              <a:t>var</a:t>
            </a:r>
            <a:r>
              <a:rPr lang="en-US" sz="1200" dirty="0"/>
              <a:t> image in </a:t>
            </a:r>
            <a:r>
              <a:rPr lang="en-US" sz="1200" dirty="0" err="1"/>
              <a:t>hemlockImages</a:t>
            </a:r>
            <a:r>
              <a:rPr lang="en-US" sz="1200" dirty="0"/>
              <a:t>) </a:t>
            </a:r>
          </a:p>
          <a:p>
            <a:r>
              <a:rPr lang="en-US" sz="1200" dirty="0"/>
              <a:t>  { </a:t>
            </a:r>
          </a:p>
          <a:p>
            <a:r>
              <a:rPr lang="en-US" sz="1200" dirty="0"/>
              <a:t>      </a:t>
            </a:r>
            <a:r>
              <a:rPr lang="en-US" sz="1200" dirty="0" err="1"/>
              <a:t>trainingApi.CreateImagesFromData</a:t>
            </a:r>
            <a:r>
              <a:rPr lang="en-US" sz="1200" dirty="0"/>
              <a:t>(</a:t>
            </a:r>
            <a:r>
              <a:rPr lang="en-US" sz="1200" dirty="0" err="1"/>
              <a:t>project.Id</a:t>
            </a:r>
            <a:r>
              <a:rPr lang="en-US" sz="1200" dirty="0"/>
              <a:t>, image, new List&lt;string&gt;() { </a:t>
            </a:r>
            <a:r>
              <a:rPr lang="en-US" sz="1200" dirty="0" err="1"/>
              <a:t>hemlockTag.Id.ToString</a:t>
            </a:r>
            <a:r>
              <a:rPr lang="en-US" sz="1200" dirty="0"/>
              <a:t>() }); </a:t>
            </a:r>
          </a:p>
          <a:p>
            <a:r>
              <a:rPr lang="en-US" sz="1200" dirty="0"/>
              <a:t>  } </a:t>
            </a:r>
          </a:p>
          <a:p>
            <a:endParaRPr lang="en-US" sz="1200" dirty="0"/>
          </a:p>
          <a:p>
            <a:r>
              <a:rPr lang="en-US" sz="1200" dirty="0"/>
              <a:t>  // Or uploaded in a single batch </a:t>
            </a:r>
          </a:p>
          <a:p>
            <a:r>
              <a:rPr lang="en-US" sz="1200" dirty="0"/>
              <a:t>  </a:t>
            </a:r>
            <a:r>
              <a:rPr lang="en-US" sz="1200" dirty="0" err="1"/>
              <a:t>trainingApi.CreateImagesFromData</a:t>
            </a:r>
            <a:r>
              <a:rPr lang="en-US" sz="1200" dirty="0"/>
              <a:t>(</a:t>
            </a:r>
            <a:r>
              <a:rPr lang="en-US" sz="1200" dirty="0" err="1"/>
              <a:t>project.Id</a:t>
            </a:r>
            <a:r>
              <a:rPr lang="en-US" sz="1200" dirty="0"/>
              <a:t>, </a:t>
            </a:r>
            <a:r>
              <a:rPr lang="en-US" sz="1200" dirty="0" err="1"/>
              <a:t>japaneseCherryImages</a:t>
            </a:r>
            <a:r>
              <a:rPr lang="en-US" sz="1200" dirty="0"/>
              <a:t>, new List&lt;</a:t>
            </a:r>
            <a:r>
              <a:rPr lang="en-US" sz="1200" dirty="0" err="1"/>
              <a:t>Guid</a:t>
            </a:r>
            <a:r>
              <a:rPr lang="en-US" sz="1200" dirty="0"/>
              <a:t>&gt;() { </a:t>
            </a:r>
            <a:r>
              <a:rPr lang="en-US" sz="1200" dirty="0" err="1"/>
              <a:t>japaneseCherryTag.Id</a:t>
            </a:r>
            <a:r>
              <a:rPr lang="en-US" sz="1200" dirty="0"/>
              <a:t> });</a:t>
            </a:r>
          </a:p>
          <a:p>
            <a:endParaRPr lang="en-US" sz="1200" dirty="0"/>
          </a:p>
          <a:p>
            <a:r>
              <a:rPr lang="en-US" sz="1200" dirty="0"/>
              <a:t>  // Now there are images with tags start training the project </a:t>
            </a:r>
          </a:p>
          <a:p>
            <a:r>
              <a:rPr lang="en-US" sz="1200" dirty="0"/>
              <a:t>  </a:t>
            </a:r>
            <a:r>
              <a:rPr lang="en-US" sz="1200" dirty="0" err="1"/>
              <a:t>Console.WriteLine</a:t>
            </a:r>
            <a:r>
              <a:rPr lang="en-US" sz="1200" dirty="0"/>
              <a:t>("\</a:t>
            </a:r>
            <a:r>
              <a:rPr lang="en-US" sz="1200" dirty="0" err="1"/>
              <a:t>tTraining</a:t>
            </a:r>
            <a:r>
              <a:rPr lang="en-US" sz="1200" dirty="0"/>
              <a:t>"); </a:t>
            </a:r>
          </a:p>
          <a:p>
            <a:r>
              <a:rPr lang="en-US" sz="1200" dirty="0"/>
              <a:t>  </a:t>
            </a:r>
            <a:r>
              <a:rPr lang="en-US" sz="1200" dirty="0" err="1"/>
              <a:t>var</a:t>
            </a:r>
            <a:r>
              <a:rPr lang="en-US" sz="1200" dirty="0"/>
              <a:t> iteration = </a:t>
            </a:r>
            <a:r>
              <a:rPr lang="en-US" sz="1200" dirty="0" err="1"/>
              <a:t>trainingApi.TrainProject</a:t>
            </a:r>
            <a:r>
              <a:rPr lang="en-US" sz="1200" dirty="0"/>
              <a:t>(</a:t>
            </a:r>
            <a:r>
              <a:rPr lang="en-US" sz="1200" dirty="0" err="1"/>
              <a:t>project.Id</a:t>
            </a:r>
            <a:r>
              <a:rPr lang="en-US" sz="1200" dirty="0"/>
              <a:t>); </a:t>
            </a:r>
          </a:p>
          <a:p>
            <a:endParaRPr lang="en-US" sz="1200" dirty="0"/>
          </a:p>
          <a:p>
            <a:r>
              <a:rPr lang="en-US" sz="1200" dirty="0"/>
              <a:t>  // The returned iteration will be in progress, and can be queried periodically to see when it has completed </a:t>
            </a:r>
          </a:p>
          <a:p>
            <a:r>
              <a:rPr lang="en-US" sz="1200" dirty="0"/>
              <a:t>  while (</a:t>
            </a:r>
            <a:r>
              <a:rPr lang="en-US" sz="1200" dirty="0" err="1"/>
              <a:t>iteration.Status</a:t>
            </a:r>
            <a:r>
              <a:rPr lang="en-US" sz="1200" dirty="0"/>
              <a:t> == "Training") </a:t>
            </a:r>
          </a:p>
          <a:p>
            <a:r>
              <a:rPr lang="en-US" sz="1200" dirty="0"/>
              <a:t>  {</a:t>
            </a:r>
          </a:p>
          <a:p>
            <a:r>
              <a:rPr lang="en-US" sz="1200" dirty="0"/>
              <a:t>    </a:t>
            </a:r>
            <a:r>
              <a:rPr lang="en-US" sz="1200" dirty="0" err="1"/>
              <a:t>Thread.Sleep</a:t>
            </a:r>
            <a:r>
              <a:rPr lang="en-US" sz="1200" dirty="0"/>
              <a:t>(1000); </a:t>
            </a:r>
          </a:p>
          <a:p>
            <a:r>
              <a:rPr lang="en-US" sz="1200" dirty="0"/>
              <a:t>  </a:t>
            </a:r>
          </a:p>
          <a:p>
            <a:r>
              <a:rPr lang="en-US" sz="1200" dirty="0"/>
              <a:t>    // Re-query the iteration to get it's updated status </a:t>
            </a:r>
          </a:p>
          <a:p>
            <a:r>
              <a:rPr lang="en-US" sz="1200" dirty="0"/>
              <a:t>    iteration = </a:t>
            </a:r>
            <a:r>
              <a:rPr lang="en-US" sz="1200" dirty="0" err="1"/>
              <a:t>trainingApi.GetIteration</a:t>
            </a:r>
            <a:r>
              <a:rPr lang="en-US" sz="1200" dirty="0"/>
              <a:t>(</a:t>
            </a:r>
            <a:r>
              <a:rPr lang="en-US" sz="1200" dirty="0" err="1"/>
              <a:t>project.Id</a:t>
            </a:r>
            <a:r>
              <a:rPr lang="en-US" sz="1200" dirty="0"/>
              <a:t>, </a:t>
            </a:r>
            <a:r>
              <a:rPr lang="en-US" sz="1200" dirty="0" err="1"/>
              <a:t>iteration.Id</a:t>
            </a:r>
            <a:r>
              <a:rPr lang="en-US" sz="1200" dirty="0"/>
              <a:t>); </a:t>
            </a:r>
          </a:p>
          <a:p>
            <a:r>
              <a:rPr lang="en-US" sz="1200" dirty="0"/>
              <a:t>  } </a:t>
            </a:r>
          </a:p>
          <a:p>
            <a:endParaRPr lang="en-US" sz="1200" dirty="0"/>
          </a:p>
          <a:p>
            <a:r>
              <a:rPr lang="en-US" sz="1200" dirty="0"/>
              <a:t>  // The iteration is now trained. Make it the default project endpoint </a:t>
            </a:r>
          </a:p>
          <a:p>
            <a:r>
              <a:rPr lang="en-US" sz="1200" dirty="0"/>
              <a:t>  </a:t>
            </a:r>
            <a:r>
              <a:rPr lang="en-US" sz="1200" dirty="0" err="1"/>
              <a:t>iteration.IsDefault</a:t>
            </a:r>
            <a:r>
              <a:rPr lang="en-US" sz="1200" dirty="0"/>
              <a:t> = true; </a:t>
            </a:r>
            <a:r>
              <a:rPr lang="en-US" sz="1200" dirty="0" err="1"/>
              <a:t>trainingApi.UpdateIteration</a:t>
            </a:r>
            <a:r>
              <a:rPr lang="en-US" sz="1200" dirty="0"/>
              <a:t>(</a:t>
            </a:r>
            <a:r>
              <a:rPr lang="en-US" sz="1200" dirty="0" err="1"/>
              <a:t>project.Id</a:t>
            </a:r>
            <a:r>
              <a:rPr lang="en-US" sz="1200" dirty="0"/>
              <a:t>, </a:t>
            </a:r>
            <a:r>
              <a:rPr lang="en-US" sz="1200" dirty="0" err="1"/>
              <a:t>iteration.Id</a:t>
            </a:r>
            <a:r>
              <a:rPr lang="en-US" sz="1200" dirty="0"/>
              <a:t>, iteration); </a:t>
            </a:r>
          </a:p>
          <a:p>
            <a:r>
              <a:rPr lang="en-US" sz="1200" dirty="0"/>
              <a:t>  </a:t>
            </a:r>
            <a:r>
              <a:rPr lang="en-US" sz="1200" dirty="0" err="1"/>
              <a:t>Console.WriteLine</a:t>
            </a:r>
            <a:r>
              <a:rPr lang="en-US" sz="1200" dirty="0"/>
              <a:t>("Done!\n"); </a:t>
            </a:r>
          </a:p>
          <a:p>
            <a:endParaRPr lang="en-US" sz="1200" dirty="0"/>
          </a:p>
          <a:p>
            <a:r>
              <a:rPr lang="en-US" sz="1200" dirty="0"/>
              <a:t>  // Now there is a trained endpoint, it can be used to make a prediction </a:t>
            </a:r>
          </a:p>
          <a:p>
            <a:r>
              <a:rPr lang="en-US" sz="1200" dirty="0"/>
              <a:t>  // Get the prediction key, which is used in place of the training key when making predictions </a:t>
            </a:r>
          </a:p>
          <a:p>
            <a:r>
              <a:rPr lang="en-US" sz="1200" dirty="0"/>
              <a:t>  </a:t>
            </a:r>
            <a:r>
              <a:rPr lang="en-US" sz="1200" dirty="0" err="1"/>
              <a:t>var</a:t>
            </a:r>
            <a:r>
              <a:rPr lang="en-US" sz="1200" dirty="0"/>
              <a:t> account = </a:t>
            </a:r>
            <a:r>
              <a:rPr lang="en-US" sz="1200" dirty="0" err="1"/>
              <a:t>trainingApi.GetAccountInfo</a:t>
            </a:r>
            <a:r>
              <a:rPr lang="en-US" sz="1200" dirty="0"/>
              <a:t>(); </a:t>
            </a:r>
          </a:p>
          <a:p>
            <a:r>
              <a:rPr lang="en-US" sz="1200" dirty="0"/>
              <a:t>  </a:t>
            </a:r>
            <a:r>
              <a:rPr lang="en-US" sz="1200" dirty="0" err="1"/>
              <a:t>var</a:t>
            </a:r>
            <a:r>
              <a:rPr lang="en-US" sz="1200" dirty="0"/>
              <a:t> </a:t>
            </a:r>
            <a:r>
              <a:rPr lang="en-US" sz="1200" dirty="0" err="1"/>
              <a:t>predictionKey</a:t>
            </a:r>
            <a:r>
              <a:rPr lang="en-US" sz="1200" dirty="0"/>
              <a:t> = </a:t>
            </a:r>
            <a:r>
              <a:rPr lang="en-US" sz="1200" dirty="0" err="1"/>
              <a:t>account.Keys.PredictionKeys.PrimaryKey</a:t>
            </a:r>
            <a:r>
              <a:rPr lang="en-US" sz="1200" dirty="0"/>
              <a:t>; </a:t>
            </a:r>
          </a:p>
          <a:p>
            <a:endParaRPr lang="en-US" sz="1200" dirty="0"/>
          </a:p>
          <a:p>
            <a:r>
              <a:rPr lang="en-US" sz="1200" dirty="0"/>
              <a:t>  // Create a prediction endpoint, passing in a prediction credentials object that contains the obtained prediction key</a:t>
            </a:r>
          </a:p>
          <a:p>
            <a:r>
              <a:rPr lang="en-US" sz="1200" dirty="0"/>
              <a:t>  </a:t>
            </a:r>
            <a:r>
              <a:rPr lang="en-US" sz="1200" dirty="0" err="1"/>
              <a:t>PredictionEndpointCredentials</a:t>
            </a:r>
            <a:r>
              <a:rPr lang="en-US" sz="1200" dirty="0"/>
              <a:t> </a:t>
            </a:r>
            <a:r>
              <a:rPr lang="en-US" sz="1200" dirty="0" err="1"/>
              <a:t>predictionEndpointCredentials</a:t>
            </a:r>
            <a:r>
              <a:rPr lang="en-US" sz="1200" dirty="0"/>
              <a:t> = new </a:t>
            </a:r>
            <a:r>
              <a:rPr lang="en-US" sz="1200" dirty="0" err="1"/>
              <a:t>PredictionEndpointCredentials</a:t>
            </a:r>
            <a:r>
              <a:rPr lang="en-US" sz="1200" dirty="0"/>
              <a:t>(</a:t>
            </a:r>
            <a:r>
              <a:rPr lang="en-US" sz="1200" dirty="0" err="1"/>
              <a:t>predictionKey</a:t>
            </a:r>
            <a:r>
              <a:rPr lang="en-US" sz="1200" dirty="0"/>
              <a:t>);</a:t>
            </a:r>
          </a:p>
          <a:p>
            <a:r>
              <a:rPr lang="en-US" sz="1200" dirty="0"/>
              <a:t>  </a:t>
            </a:r>
            <a:r>
              <a:rPr lang="en-US" sz="1200" dirty="0" err="1"/>
              <a:t>PredictionEndpoint</a:t>
            </a:r>
            <a:r>
              <a:rPr lang="en-US" sz="1200" dirty="0"/>
              <a:t> endpoint = new </a:t>
            </a:r>
            <a:r>
              <a:rPr lang="en-US" sz="1200" dirty="0" err="1"/>
              <a:t>PredictionEndpoint</a:t>
            </a:r>
            <a:r>
              <a:rPr lang="en-US" sz="1200" dirty="0"/>
              <a:t>(</a:t>
            </a:r>
            <a:r>
              <a:rPr lang="en-US" sz="1200" dirty="0" err="1"/>
              <a:t>predictionEndpointCredentials</a:t>
            </a:r>
            <a:r>
              <a:rPr lang="en-US" sz="1200" dirty="0"/>
              <a:t>); </a:t>
            </a:r>
          </a:p>
          <a:p>
            <a:endParaRPr lang="en-US" sz="1200" dirty="0"/>
          </a:p>
          <a:p>
            <a:r>
              <a:rPr lang="en-US" sz="1200" dirty="0"/>
              <a:t>  // Make a prediction against the new project </a:t>
            </a:r>
          </a:p>
          <a:p>
            <a:r>
              <a:rPr lang="en-US" sz="1200" dirty="0"/>
              <a:t>  </a:t>
            </a:r>
            <a:r>
              <a:rPr lang="en-US" sz="1200" dirty="0" err="1"/>
              <a:t>Console.WriteLine</a:t>
            </a:r>
            <a:r>
              <a:rPr lang="en-US" sz="1200" dirty="0"/>
              <a:t>("Making a prediction:"); </a:t>
            </a:r>
          </a:p>
          <a:p>
            <a:r>
              <a:rPr lang="en-US" sz="1200" dirty="0"/>
              <a:t>  </a:t>
            </a:r>
            <a:r>
              <a:rPr lang="en-US" sz="1200" dirty="0" err="1"/>
              <a:t>var</a:t>
            </a:r>
            <a:r>
              <a:rPr lang="en-US" sz="1200" dirty="0"/>
              <a:t> result = </a:t>
            </a:r>
            <a:r>
              <a:rPr lang="en-US" sz="1200" dirty="0" err="1"/>
              <a:t>endpoint.PredictImage</a:t>
            </a:r>
            <a:r>
              <a:rPr lang="en-US" sz="1200" dirty="0"/>
              <a:t>(</a:t>
            </a:r>
            <a:r>
              <a:rPr lang="en-US" sz="1200" dirty="0" err="1"/>
              <a:t>project.Id</a:t>
            </a:r>
            <a:r>
              <a:rPr lang="en-US" sz="1200" dirty="0"/>
              <a:t>, </a:t>
            </a:r>
            <a:r>
              <a:rPr lang="en-US" sz="1200" dirty="0" err="1"/>
              <a:t>testImage</a:t>
            </a:r>
            <a:r>
              <a:rPr lang="en-US" sz="1200" dirty="0"/>
              <a:t>); </a:t>
            </a:r>
          </a:p>
          <a:p>
            <a:endParaRPr lang="en-US" sz="1200" dirty="0"/>
          </a:p>
          <a:p>
            <a:r>
              <a:rPr lang="en-US" sz="1200" dirty="0"/>
              <a:t>  // Loop over each prediction and write out the results </a:t>
            </a:r>
          </a:p>
          <a:p>
            <a:r>
              <a:rPr lang="en-US" sz="1200" dirty="0"/>
              <a:t>  </a:t>
            </a:r>
            <a:r>
              <a:rPr lang="en-US" sz="1200" dirty="0" err="1"/>
              <a:t>foreach</a:t>
            </a:r>
            <a:r>
              <a:rPr lang="en-US" sz="1200" dirty="0"/>
              <a:t> (</a:t>
            </a:r>
            <a:r>
              <a:rPr lang="en-US" sz="1200" dirty="0" err="1"/>
              <a:t>var</a:t>
            </a:r>
            <a:r>
              <a:rPr lang="en-US" sz="1200" dirty="0"/>
              <a:t> c in </a:t>
            </a:r>
            <a:r>
              <a:rPr lang="en-US" sz="1200" dirty="0" err="1"/>
              <a:t>result.Predictions</a:t>
            </a:r>
            <a:r>
              <a:rPr lang="en-US" sz="1200" dirty="0"/>
              <a:t>) </a:t>
            </a:r>
          </a:p>
          <a:p>
            <a:r>
              <a:rPr lang="en-US" sz="1200" dirty="0"/>
              <a:t>  { </a:t>
            </a:r>
          </a:p>
          <a:p>
            <a:r>
              <a:rPr lang="en-US" sz="1200" dirty="0"/>
              <a:t>     </a:t>
            </a:r>
            <a:r>
              <a:rPr lang="en-US" sz="1200" dirty="0" err="1"/>
              <a:t>Console.WriteLine</a:t>
            </a:r>
            <a:r>
              <a:rPr lang="en-US" sz="1200" dirty="0"/>
              <a:t>($"\t{</a:t>
            </a:r>
            <a:r>
              <a:rPr lang="en-US" sz="1200" dirty="0" err="1"/>
              <a:t>c.Tag</a:t>
            </a:r>
            <a:r>
              <a:rPr lang="en-US" sz="1200" dirty="0"/>
              <a:t>}: {c.Probability:P1}"); </a:t>
            </a:r>
          </a:p>
          <a:p>
            <a:r>
              <a:rPr lang="en-US" sz="1200" dirty="0"/>
              <a:t>  } </a:t>
            </a:r>
          </a:p>
          <a:p>
            <a:r>
              <a:rPr lang="en-US" sz="1200" dirty="0"/>
              <a:t>  </a:t>
            </a:r>
            <a:r>
              <a:rPr lang="en-US" sz="1200" dirty="0" err="1"/>
              <a:t>Console.ReadKey</a:t>
            </a:r>
            <a:r>
              <a:rPr lang="en-US" sz="1200" dirty="0"/>
              <a:t>(); </a:t>
            </a:r>
          </a:p>
          <a:p>
            <a:r>
              <a:rPr lang="en-US" sz="1200" dirty="0"/>
              <a:t>} </a:t>
            </a:r>
          </a:p>
          <a:p>
            <a:endParaRPr lang="en-US" sz="1200" dirty="0"/>
          </a:p>
          <a:p>
            <a:r>
              <a:rPr lang="en-US" sz="1200" dirty="0"/>
              <a:t>private static string </a:t>
            </a:r>
            <a:r>
              <a:rPr lang="en-US" sz="1200" dirty="0" err="1"/>
              <a:t>GetTrainingKey</a:t>
            </a:r>
            <a:r>
              <a:rPr lang="en-US" sz="1200" dirty="0"/>
              <a:t>(string </a:t>
            </a:r>
            <a:r>
              <a:rPr lang="en-US" sz="1200" dirty="0" err="1"/>
              <a:t>trainingKey</a:t>
            </a:r>
            <a:r>
              <a:rPr lang="en-US" sz="1200" dirty="0"/>
              <a:t>, string[] </a:t>
            </a:r>
            <a:r>
              <a:rPr lang="en-US" sz="1200" dirty="0" err="1"/>
              <a:t>args</a:t>
            </a:r>
            <a:r>
              <a:rPr lang="en-US" sz="1200" dirty="0"/>
              <a:t>) </a:t>
            </a:r>
          </a:p>
          <a:p>
            <a:r>
              <a:rPr lang="en-US" sz="1200" dirty="0"/>
              <a:t>{</a:t>
            </a:r>
          </a:p>
          <a:p>
            <a:r>
              <a:rPr lang="en-US" sz="1200" dirty="0"/>
              <a:t>  if (</a:t>
            </a:r>
            <a:r>
              <a:rPr lang="en-US" sz="1200" dirty="0" err="1"/>
              <a:t>string.IsNullOrWhiteSpace</a:t>
            </a:r>
            <a:r>
              <a:rPr lang="en-US" sz="1200" dirty="0"/>
              <a:t>(</a:t>
            </a:r>
            <a:r>
              <a:rPr lang="en-US" sz="1200" dirty="0" err="1"/>
              <a:t>trainingKey</a:t>
            </a:r>
            <a:r>
              <a:rPr lang="en-US" sz="1200" dirty="0"/>
              <a:t>) || </a:t>
            </a:r>
            <a:r>
              <a:rPr lang="en-US" sz="1200" dirty="0" err="1"/>
              <a:t>trainingKey.Equals</a:t>
            </a:r>
            <a:r>
              <a:rPr lang="en-US" sz="1200" dirty="0"/>
              <a:t>("&lt;your key here&gt;")) </a:t>
            </a:r>
          </a:p>
          <a:p>
            <a:r>
              <a:rPr lang="en-US" sz="1200" dirty="0"/>
              <a:t>  { if (</a:t>
            </a:r>
            <a:r>
              <a:rPr lang="en-US" sz="1200" dirty="0" err="1"/>
              <a:t>args.Length</a:t>
            </a:r>
            <a:r>
              <a:rPr lang="en-US" sz="1200" dirty="0"/>
              <a:t> &gt;= 1) </a:t>
            </a:r>
          </a:p>
          <a:p>
            <a:r>
              <a:rPr lang="en-US" sz="1200" dirty="0"/>
              <a:t>    { </a:t>
            </a:r>
          </a:p>
          <a:p>
            <a:r>
              <a:rPr lang="en-US" sz="1200" dirty="0"/>
              <a:t>        </a:t>
            </a:r>
            <a:r>
              <a:rPr lang="en-US" sz="1200" dirty="0" err="1"/>
              <a:t>trainingKey</a:t>
            </a:r>
            <a:r>
              <a:rPr lang="en-US" sz="1200" dirty="0"/>
              <a:t> = </a:t>
            </a:r>
            <a:r>
              <a:rPr lang="en-US" sz="1200" dirty="0" err="1"/>
              <a:t>args</a:t>
            </a:r>
            <a:r>
              <a:rPr lang="en-US" sz="1200" dirty="0"/>
              <a:t>[0]; </a:t>
            </a:r>
          </a:p>
          <a:p>
            <a:r>
              <a:rPr lang="en-US" sz="1200" dirty="0"/>
              <a:t>    } </a:t>
            </a:r>
          </a:p>
          <a:p>
            <a:endParaRPr lang="en-US" sz="1200" dirty="0"/>
          </a:p>
          <a:p>
            <a:r>
              <a:rPr lang="en-US" sz="1200" dirty="0"/>
              <a:t>    while (</a:t>
            </a:r>
            <a:r>
              <a:rPr lang="en-US" sz="1200" dirty="0" err="1"/>
              <a:t>string.IsNullOrWhiteSpace</a:t>
            </a:r>
            <a:r>
              <a:rPr lang="en-US" sz="1200" dirty="0"/>
              <a:t>(</a:t>
            </a:r>
            <a:r>
              <a:rPr lang="en-US" sz="1200" dirty="0" err="1"/>
              <a:t>trainingKey</a:t>
            </a:r>
            <a:r>
              <a:rPr lang="en-US" sz="1200" dirty="0"/>
              <a:t>) || </a:t>
            </a:r>
            <a:r>
              <a:rPr lang="en-US" sz="1200" dirty="0" err="1"/>
              <a:t>trainingKey.Length</a:t>
            </a:r>
            <a:r>
              <a:rPr lang="en-US" sz="1200" dirty="0"/>
              <a:t> != 32) </a:t>
            </a:r>
          </a:p>
          <a:p>
            <a:r>
              <a:rPr lang="en-US" sz="1200" dirty="0"/>
              <a:t>    { </a:t>
            </a:r>
          </a:p>
          <a:p>
            <a:r>
              <a:rPr lang="en-US" sz="1200" dirty="0"/>
              <a:t>         </a:t>
            </a:r>
            <a:r>
              <a:rPr lang="en-US" sz="1200" dirty="0" err="1"/>
              <a:t>Console.Write</a:t>
            </a:r>
            <a:r>
              <a:rPr lang="en-US" sz="1200" dirty="0"/>
              <a:t>("Enter your training key: "); </a:t>
            </a:r>
          </a:p>
          <a:p>
            <a:r>
              <a:rPr lang="en-US" sz="1200" dirty="0"/>
              <a:t>         </a:t>
            </a:r>
            <a:r>
              <a:rPr lang="en-US" sz="1200" dirty="0" err="1"/>
              <a:t>trainingKey</a:t>
            </a:r>
            <a:r>
              <a:rPr lang="en-US" sz="1200" dirty="0"/>
              <a:t> = </a:t>
            </a:r>
            <a:r>
              <a:rPr lang="en-US" sz="1200" dirty="0" err="1"/>
              <a:t>Console.ReadLine</a:t>
            </a:r>
            <a:r>
              <a:rPr lang="en-US" sz="1200" dirty="0"/>
              <a:t>(); </a:t>
            </a:r>
          </a:p>
          <a:p>
            <a:r>
              <a:rPr lang="en-US" sz="1200" dirty="0"/>
              <a:t>    } </a:t>
            </a:r>
          </a:p>
          <a:p>
            <a:r>
              <a:rPr lang="en-US" sz="1200" dirty="0"/>
              <a:t>    </a:t>
            </a:r>
            <a:r>
              <a:rPr lang="en-US" sz="1200" dirty="0" err="1"/>
              <a:t>Console.WriteLine</a:t>
            </a:r>
            <a:r>
              <a:rPr lang="en-US" sz="1200" dirty="0"/>
              <a:t>(); </a:t>
            </a:r>
          </a:p>
          <a:p>
            <a:r>
              <a:rPr lang="en-US" sz="1200" dirty="0"/>
              <a:t>  } </a:t>
            </a:r>
          </a:p>
          <a:p>
            <a:endParaRPr lang="en-US" sz="1200" dirty="0"/>
          </a:p>
          <a:p>
            <a:r>
              <a:rPr lang="en-US" sz="1200" dirty="0"/>
              <a:t>  return </a:t>
            </a:r>
            <a:r>
              <a:rPr lang="en-US" sz="1200" dirty="0" err="1"/>
              <a:t>trainingKey</a:t>
            </a:r>
            <a:r>
              <a:rPr lang="en-US" sz="1200" dirty="0"/>
              <a:t>; </a:t>
            </a:r>
          </a:p>
          <a:p>
            <a:r>
              <a:rPr lang="en-US" sz="1200" dirty="0"/>
              <a:t>} </a:t>
            </a:r>
          </a:p>
          <a:p>
            <a:endParaRPr lang="en-US" sz="1200" dirty="0"/>
          </a:p>
          <a:p>
            <a:r>
              <a:rPr lang="en-US" sz="1200" dirty="0"/>
              <a:t>private static void </a:t>
            </a:r>
            <a:r>
              <a:rPr lang="en-US" sz="1200" dirty="0" err="1"/>
              <a:t>LoadImagesFromDisk</a:t>
            </a:r>
            <a:r>
              <a:rPr lang="en-US" sz="1200" dirty="0"/>
              <a:t>() </a:t>
            </a:r>
          </a:p>
          <a:p>
            <a:r>
              <a:rPr lang="en-US" sz="1200" dirty="0"/>
              <a:t>{ </a:t>
            </a:r>
          </a:p>
          <a:p>
            <a:r>
              <a:rPr lang="en-US" sz="1200" dirty="0"/>
              <a:t>// this loads the images to be uploaded from disk into memory </a:t>
            </a:r>
          </a:p>
          <a:p>
            <a:r>
              <a:rPr lang="en-US" sz="1200" dirty="0" err="1"/>
              <a:t>hemlockImages</a:t>
            </a:r>
            <a:r>
              <a:rPr lang="en-US" sz="1200" dirty="0"/>
              <a:t> = </a:t>
            </a:r>
            <a:r>
              <a:rPr lang="en-US" sz="1200" dirty="0" err="1"/>
              <a:t>Directory.GetFiles</a:t>
            </a:r>
            <a:r>
              <a:rPr lang="en-US" sz="1200" dirty="0"/>
              <a:t>(@"..\..\..\Images\Hemlock").Select(f =&gt; new </a:t>
            </a:r>
            <a:r>
              <a:rPr lang="en-US" sz="1200" dirty="0" err="1"/>
              <a:t>MemoryStream</a:t>
            </a:r>
            <a:r>
              <a:rPr lang="en-US" sz="1200" dirty="0"/>
              <a:t>(</a:t>
            </a:r>
            <a:r>
              <a:rPr lang="en-US" sz="1200" dirty="0" err="1"/>
              <a:t>File.ReadAllBytes</a:t>
            </a:r>
            <a:r>
              <a:rPr lang="en-US" sz="1200" dirty="0"/>
              <a:t>(f))).</a:t>
            </a:r>
            <a:r>
              <a:rPr lang="en-US" sz="1200" dirty="0" err="1"/>
              <a:t>ToList</a:t>
            </a:r>
            <a:r>
              <a:rPr lang="en-US" sz="1200" dirty="0"/>
              <a:t>(); </a:t>
            </a:r>
          </a:p>
          <a:p>
            <a:r>
              <a:rPr lang="en-US" sz="1200" dirty="0" err="1"/>
              <a:t>japaneseCherryImages</a:t>
            </a:r>
            <a:r>
              <a:rPr lang="en-US" sz="1200" dirty="0"/>
              <a:t> = </a:t>
            </a:r>
            <a:r>
              <a:rPr lang="en-US" sz="1200" dirty="0" err="1"/>
              <a:t>Directory.GetFiles</a:t>
            </a:r>
            <a:r>
              <a:rPr lang="en-US" sz="1200" dirty="0"/>
              <a:t>(@"..\..\..\Images\Japanese Cherry").Select(f =&gt; new </a:t>
            </a:r>
            <a:r>
              <a:rPr lang="en-US" sz="1200" dirty="0" err="1"/>
              <a:t>MemoryStream</a:t>
            </a:r>
            <a:r>
              <a:rPr lang="en-US" sz="1200" dirty="0"/>
              <a:t>(</a:t>
            </a:r>
            <a:r>
              <a:rPr lang="en-US" sz="1200" dirty="0" err="1"/>
              <a:t>File.ReadAllBytes</a:t>
            </a:r>
            <a:r>
              <a:rPr lang="en-US" sz="1200" dirty="0"/>
              <a:t>(f))).</a:t>
            </a:r>
            <a:r>
              <a:rPr lang="en-US" sz="1200" dirty="0" err="1"/>
              <a:t>ToList</a:t>
            </a:r>
            <a:r>
              <a:rPr lang="en-US" sz="1200" dirty="0"/>
              <a:t>(); </a:t>
            </a:r>
          </a:p>
          <a:p>
            <a:r>
              <a:rPr lang="en-US" sz="1200" dirty="0" err="1"/>
              <a:t>testImage</a:t>
            </a:r>
            <a:r>
              <a:rPr lang="en-US" sz="1200" dirty="0"/>
              <a:t> = new </a:t>
            </a:r>
            <a:r>
              <a:rPr lang="en-US" sz="1200" dirty="0" err="1"/>
              <a:t>MemoryStream</a:t>
            </a:r>
            <a:r>
              <a:rPr lang="en-US" sz="1200" dirty="0"/>
              <a:t>(</a:t>
            </a:r>
            <a:r>
              <a:rPr lang="en-US" sz="1200" dirty="0" err="1"/>
              <a:t>File.ReadAllBytes</a:t>
            </a:r>
            <a:r>
              <a:rPr lang="en-US" sz="1200" dirty="0"/>
              <a:t>(@"..\..\..\Images\Test\test_image.jpg")); </a:t>
            </a:r>
          </a:p>
          <a:p>
            <a:r>
              <a:rPr lang="en-US" sz="1200" dirty="0"/>
              <a:t>} </a:t>
            </a:r>
          </a:p>
          <a:p>
            <a:endParaRPr lang="en-US" sz="1200" dirty="0"/>
          </a:p>
          <a:p>
            <a:endParaRPr lang="en-US" sz="1200" dirty="0"/>
          </a:p>
          <a:p>
            <a:r>
              <a:rPr lang="en-US" sz="1200" b="1" dirty="0"/>
              <a:t>Step 2: Change the memory stream definition</a:t>
            </a:r>
          </a:p>
          <a:p>
            <a:r>
              <a:rPr lang="en-US" sz="1200" dirty="0"/>
              <a:t>In line 46 and 48, change the variable names for the list items to match the names defined for the image types</a:t>
            </a:r>
          </a:p>
          <a:p>
            <a:endParaRPr lang="en-US" sz="1200" dirty="0"/>
          </a:p>
          <a:p>
            <a:r>
              <a:rPr lang="en-US" sz="1200" dirty="0"/>
              <a:t>private static List&lt;</a:t>
            </a:r>
            <a:r>
              <a:rPr lang="en-US" sz="1200" dirty="0" err="1"/>
              <a:t>MemoryStream</a:t>
            </a:r>
            <a:r>
              <a:rPr lang="en-US" sz="1200" dirty="0"/>
              <a:t>&gt; </a:t>
            </a:r>
            <a:r>
              <a:rPr lang="en-US" sz="1200" dirty="0" err="1"/>
              <a:t>AmpImages</a:t>
            </a:r>
            <a:r>
              <a:rPr lang="en-US" sz="1200" dirty="0"/>
              <a:t>; </a:t>
            </a:r>
          </a:p>
          <a:p>
            <a:r>
              <a:rPr lang="en-US" sz="1200" dirty="0"/>
              <a:t>private static List&lt;</a:t>
            </a:r>
            <a:r>
              <a:rPr lang="en-US" sz="1200" dirty="0" err="1"/>
              <a:t>MemoryStream</a:t>
            </a:r>
            <a:r>
              <a:rPr lang="en-US" sz="1200" dirty="0"/>
              <a:t>&gt; </a:t>
            </a:r>
            <a:r>
              <a:rPr lang="en-US" sz="1200" dirty="0" err="1"/>
              <a:t>GuitarImages</a:t>
            </a:r>
            <a:r>
              <a:rPr lang="en-US" sz="1200" dirty="0"/>
              <a:t> </a:t>
            </a:r>
          </a:p>
          <a:p>
            <a:endParaRPr lang="en-US" sz="1200" dirty="0"/>
          </a:p>
          <a:p>
            <a:endParaRPr lang="en-US" sz="1200" dirty="0"/>
          </a:p>
          <a:p>
            <a:r>
              <a:rPr lang="en-US" sz="1200" b="1" dirty="0"/>
              <a:t>Step 3: Modify a Custom Vision Service project name</a:t>
            </a:r>
          </a:p>
          <a:p>
            <a:r>
              <a:rPr lang="en-US" sz="1200" dirty="0"/>
              <a:t>Modify Custom Vision Service project name to “My Second Project”, add the following change in the code in your </a:t>
            </a:r>
            <a:r>
              <a:rPr lang="en-US" sz="1200" b="1" dirty="0"/>
              <a:t>Main()</a:t>
            </a:r>
            <a:r>
              <a:rPr lang="en-US" sz="1200" dirty="0"/>
              <a:t> method after the call to </a:t>
            </a:r>
            <a:r>
              <a:rPr lang="en-US" sz="1200" b="1" dirty="0" err="1"/>
              <a:t>LoadImagesFromDisk</a:t>
            </a:r>
            <a:r>
              <a:rPr lang="en-US" sz="1200" b="1" dirty="0"/>
              <a:t>().</a:t>
            </a:r>
          </a:p>
          <a:p>
            <a:endParaRPr lang="en-US" sz="1200" dirty="0"/>
          </a:p>
          <a:p>
            <a:r>
              <a:rPr lang="en-US" sz="1200" dirty="0"/>
              <a:t>// Create a new project </a:t>
            </a:r>
          </a:p>
          <a:p>
            <a:r>
              <a:rPr lang="en-US" sz="1200" dirty="0" err="1"/>
              <a:t>Console.WriteLine</a:t>
            </a:r>
            <a:r>
              <a:rPr lang="en-US" sz="1200" dirty="0"/>
              <a:t>("Creating new project:"); </a:t>
            </a:r>
          </a:p>
          <a:p>
            <a:r>
              <a:rPr lang="en-US" sz="1200" dirty="0" err="1"/>
              <a:t>var</a:t>
            </a:r>
            <a:r>
              <a:rPr lang="en-US" sz="1200" dirty="0"/>
              <a:t> project = </a:t>
            </a:r>
            <a:r>
              <a:rPr lang="en-US" sz="1200" dirty="0" err="1"/>
              <a:t>trainingApi.CreateProject</a:t>
            </a:r>
            <a:r>
              <a:rPr lang="en-US" sz="1200" dirty="0"/>
              <a:t>("My Second Project"); </a:t>
            </a:r>
          </a:p>
          <a:p>
            <a:endParaRPr lang="en-US" sz="1200" dirty="0"/>
          </a:p>
          <a:p>
            <a:r>
              <a:rPr lang="en-US" sz="1200" b="1" dirty="0"/>
              <a:t>Step 4: Add tags to your project</a:t>
            </a:r>
          </a:p>
          <a:p>
            <a:r>
              <a:rPr lang="en-US" sz="1200" dirty="0"/>
              <a:t>Create new tags to your project to distinguish between amps and guitars, insert the following code after the call to </a:t>
            </a:r>
            <a:r>
              <a:rPr lang="en-US" sz="1200" b="1" dirty="0" err="1"/>
              <a:t>CreateProject</a:t>
            </a:r>
            <a:r>
              <a:rPr lang="en-US" sz="1200" b="1" dirty="0"/>
              <a:t>(”My Second Project”);</a:t>
            </a:r>
            <a:r>
              <a:rPr lang="en-US" sz="1200" dirty="0"/>
              <a:t>.</a:t>
            </a:r>
          </a:p>
          <a:p>
            <a:endParaRPr lang="en-US" sz="1200" dirty="0"/>
          </a:p>
          <a:p>
            <a:r>
              <a:rPr lang="en-US" sz="1200" dirty="0"/>
              <a:t>// Make two tags in the new project </a:t>
            </a:r>
          </a:p>
          <a:p>
            <a:r>
              <a:rPr lang="en-US" sz="1200" dirty="0" err="1"/>
              <a:t>var</a:t>
            </a:r>
            <a:r>
              <a:rPr lang="en-US" sz="1200" dirty="0"/>
              <a:t> </a:t>
            </a:r>
            <a:r>
              <a:rPr lang="en-US" sz="1200" dirty="0" err="1"/>
              <a:t>AmpTag</a:t>
            </a:r>
            <a:r>
              <a:rPr lang="en-US" sz="1200" dirty="0"/>
              <a:t> = </a:t>
            </a:r>
            <a:r>
              <a:rPr lang="en-US" sz="1200" dirty="0" err="1"/>
              <a:t>trainingApi.CreateTag</a:t>
            </a:r>
            <a:r>
              <a:rPr lang="en-US" sz="1200" dirty="0"/>
              <a:t>(</a:t>
            </a:r>
            <a:r>
              <a:rPr lang="en-US" sz="1200" dirty="0" err="1"/>
              <a:t>project.Id</a:t>
            </a:r>
            <a:r>
              <a:rPr lang="en-US" sz="1200" dirty="0"/>
              <a:t>, "Amp"); </a:t>
            </a:r>
          </a:p>
          <a:p>
            <a:r>
              <a:rPr lang="en-US" sz="1200" dirty="0" err="1"/>
              <a:t>var</a:t>
            </a:r>
            <a:r>
              <a:rPr lang="en-US" sz="1200" dirty="0"/>
              <a:t> </a:t>
            </a:r>
            <a:r>
              <a:rPr lang="en-US" sz="1200" dirty="0" err="1"/>
              <a:t>GuitarTag</a:t>
            </a:r>
            <a:r>
              <a:rPr lang="en-US" sz="1200" dirty="0"/>
              <a:t> = </a:t>
            </a:r>
            <a:r>
              <a:rPr lang="en-US" sz="1200" dirty="0" err="1"/>
              <a:t>trainingApi.CreateTag</a:t>
            </a:r>
            <a:r>
              <a:rPr lang="en-US" sz="1200" dirty="0"/>
              <a:t>(</a:t>
            </a:r>
            <a:r>
              <a:rPr lang="en-US" sz="1200" dirty="0" err="1"/>
              <a:t>project.Id</a:t>
            </a:r>
            <a:r>
              <a:rPr lang="en-US" sz="1200" dirty="0"/>
              <a:t>, "Guitar"); </a:t>
            </a:r>
          </a:p>
          <a:p>
            <a:endParaRPr lang="en-US" sz="1200" dirty="0"/>
          </a:p>
          <a:p>
            <a:r>
              <a:rPr lang="en-US" sz="1200" b="1" dirty="0"/>
              <a:t>Step 5: Upload images to the project</a:t>
            </a:r>
          </a:p>
          <a:p>
            <a:r>
              <a:rPr lang="en-US" sz="1200" dirty="0"/>
              <a:t>To add the images we have in memory to the project, insert the following code after the call to </a:t>
            </a:r>
            <a:r>
              <a:rPr lang="en-US" sz="1200" b="1" dirty="0" err="1"/>
              <a:t>CreateTag</a:t>
            </a:r>
            <a:r>
              <a:rPr lang="en-US" sz="1200" b="1" dirty="0"/>
              <a:t>(</a:t>
            </a:r>
            <a:r>
              <a:rPr lang="en-US" sz="1200" b="1" dirty="0" err="1"/>
              <a:t>project.Id</a:t>
            </a:r>
            <a:r>
              <a:rPr lang="en-US" sz="1200" b="1" dirty="0"/>
              <a:t>, "Guitar")</a:t>
            </a:r>
            <a:r>
              <a:rPr lang="en-US" sz="1200" dirty="0"/>
              <a:t> method.</a:t>
            </a:r>
          </a:p>
          <a:p>
            <a:endParaRPr lang="en-US" sz="1200" dirty="0"/>
          </a:p>
          <a:p>
            <a:r>
              <a:rPr lang="en-US" sz="1200" dirty="0"/>
              <a:t>// Add some images to the tags </a:t>
            </a:r>
          </a:p>
          <a:p>
            <a:r>
              <a:rPr lang="en-US" sz="1200" dirty="0" err="1"/>
              <a:t>Console.WriteLine</a:t>
            </a:r>
            <a:r>
              <a:rPr lang="en-US" sz="1200" dirty="0"/>
              <a:t>("\</a:t>
            </a:r>
            <a:r>
              <a:rPr lang="en-US" sz="1200" dirty="0" err="1"/>
              <a:t>tUploading</a:t>
            </a:r>
            <a:r>
              <a:rPr lang="en-US" sz="1200" dirty="0"/>
              <a:t> images"); </a:t>
            </a:r>
          </a:p>
          <a:p>
            <a:r>
              <a:rPr lang="en-US" sz="1200" dirty="0" err="1"/>
              <a:t>LoadImagesFromDisk</a:t>
            </a:r>
            <a:r>
              <a:rPr lang="en-US" sz="1200" dirty="0"/>
              <a:t>(); </a:t>
            </a:r>
          </a:p>
          <a:p>
            <a:endParaRPr lang="en-US" sz="1200" dirty="0"/>
          </a:p>
          <a:p>
            <a:r>
              <a:rPr lang="en-US" sz="1200" dirty="0"/>
              <a:t>// Images can be uploaded one at a time </a:t>
            </a:r>
          </a:p>
          <a:p>
            <a:r>
              <a:rPr lang="en-US" sz="1200" dirty="0" err="1"/>
              <a:t>foreach</a:t>
            </a:r>
            <a:r>
              <a:rPr lang="en-US" sz="1200" dirty="0"/>
              <a:t> (</a:t>
            </a:r>
            <a:r>
              <a:rPr lang="en-US" sz="1200" dirty="0" err="1"/>
              <a:t>var</a:t>
            </a:r>
            <a:r>
              <a:rPr lang="en-US" sz="1200" dirty="0"/>
              <a:t> image in </a:t>
            </a:r>
            <a:r>
              <a:rPr lang="en-US" sz="1200" dirty="0" err="1"/>
              <a:t>AmpImages</a:t>
            </a:r>
            <a:r>
              <a:rPr lang="en-US" sz="1200" dirty="0"/>
              <a:t>) </a:t>
            </a:r>
          </a:p>
          <a:p>
            <a:r>
              <a:rPr lang="en-US" sz="1200" dirty="0"/>
              <a:t>{ </a:t>
            </a:r>
          </a:p>
          <a:p>
            <a:r>
              <a:rPr lang="en-US" sz="1200" dirty="0"/>
              <a:t>   </a:t>
            </a:r>
            <a:r>
              <a:rPr lang="en-US" sz="1200" dirty="0" err="1"/>
              <a:t>trainingApi.CreateImagesFromData</a:t>
            </a:r>
            <a:r>
              <a:rPr lang="en-US" sz="1200" dirty="0"/>
              <a:t>(</a:t>
            </a:r>
            <a:r>
              <a:rPr lang="en-US" sz="1200" dirty="0" err="1"/>
              <a:t>project.Id</a:t>
            </a:r>
            <a:r>
              <a:rPr lang="en-US" sz="1200" dirty="0"/>
              <a:t>, image, new List&lt;string&gt;() { </a:t>
            </a:r>
            <a:r>
              <a:rPr lang="en-US" sz="1200" dirty="0" err="1"/>
              <a:t>AmpTag.Id.ToString</a:t>
            </a:r>
            <a:r>
              <a:rPr lang="en-US" sz="1200" dirty="0"/>
              <a:t>() }); </a:t>
            </a:r>
          </a:p>
          <a:p>
            <a:r>
              <a:rPr lang="en-US" sz="1200" dirty="0"/>
              <a:t>} </a:t>
            </a:r>
          </a:p>
          <a:p>
            <a:endParaRPr lang="en-US" sz="1200" dirty="0"/>
          </a:p>
          <a:p>
            <a:r>
              <a:rPr lang="en-US" sz="1200" dirty="0"/>
              <a:t>// Or uploaded in a single batch </a:t>
            </a:r>
          </a:p>
          <a:p>
            <a:r>
              <a:rPr lang="en-US" sz="1200" dirty="0" err="1"/>
              <a:t>trainingApi.CreateImagesFromData</a:t>
            </a:r>
            <a:r>
              <a:rPr lang="en-US" sz="1200" dirty="0"/>
              <a:t>(</a:t>
            </a:r>
            <a:r>
              <a:rPr lang="en-US" sz="1200" dirty="0" err="1"/>
              <a:t>project.Id</a:t>
            </a:r>
            <a:r>
              <a:rPr lang="en-US" sz="1200" dirty="0"/>
              <a:t>, </a:t>
            </a:r>
            <a:r>
              <a:rPr lang="en-US" sz="1200" dirty="0" err="1"/>
              <a:t>GuitarImages</a:t>
            </a:r>
            <a:r>
              <a:rPr lang="en-US" sz="1200" dirty="0"/>
              <a:t>, new List&lt;</a:t>
            </a:r>
            <a:r>
              <a:rPr lang="en-US" sz="1200" dirty="0" err="1"/>
              <a:t>Guid</a:t>
            </a:r>
            <a:r>
              <a:rPr lang="en-US" sz="1200" dirty="0"/>
              <a:t>&gt;() { </a:t>
            </a:r>
            <a:r>
              <a:rPr lang="en-US" sz="1200" dirty="0" err="1"/>
              <a:t>GuitarTag.Id</a:t>
            </a:r>
            <a:r>
              <a:rPr lang="en-US" sz="1200" dirty="0"/>
              <a:t> });</a:t>
            </a:r>
          </a:p>
          <a:p>
            <a:endParaRPr lang="en-US" sz="1200" dirty="0"/>
          </a:p>
          <a:p>
            <a:r>
              <a:rPr lang="en-US" sz="1200" dirty="0"/>
              <a:t> </a:t>
            </a:r>
          </a:p>
          <a:p>
            <a:r>
              <a:rPr lang="en-US" sz="1200" b="1" dirty="0"/>
              <a:t>Step 6: Redefine the </a:t>
            </a:r>
            <a:r>
              <a:rPr lang="en-US" sz="1200" b="1" dirty="0" err="1"/>
              <a:t>LoadImagesFromDisk</a:t>
            </a:r>
            <a:r>
              <a:rPr lang="en-US" sz="1200" b="1" dirty="0"/>
              <a:t>() method</a:t>
            </a:r>
          </a:p>
          <a:p>
            <a:r>
              <a:rPr lang="en-US" sz="1200" dirty="0"/>
              <a:t>There are a new set of images that is located in the following location: \Lab\Starter\Cognitive-</a:t>
            </a:r>
            <a:r>
              <a:rPr lang="en-US" sz="1200" dirty="0" err="1"/>
              <a:t>CustomVision</a:t>
            </a:r>
            <a:r>
              <a:rPr lang="en-US" sz="1200" dirty="0"/>
              <a:t>-Windows\Samples\</a:t>
            </a:r>
            <a:r>
              <a:rPr lang="en-US" sz="1200" dirty="0" err="1"/>
              <a:t>CustomImages</a:t>
            </a:r>
            <a:r>
              <a:rPr lang="en-US" sz="1200" dirty="0"/>
              <a:t>. In this folder are three folders. The Amp folder contains pictures of amplifiers. The Guitars folder contains pictures of guitars. These folders are used in the training of the classification model. The final folder named test contains a single picture that will be used to perform the prediction.</a:t>
            </a:r>
          </a:p>
          <a:p>
            <a:r>
              <a:rPr lang="en-US" sz="1200" dirty="0"/>
              <a:t>Modify the code at the end of the </a:t>
            </a:r>
            <a:r>
              <a:rPr lang="en-US" sz="1200" dirty="0" err="1"/>
              <a:t>Program.cs</a:t>
            </a:r>
            <a:r>
              <a:rPr lang="en-US" sz="1200" dirty="0"/>
              <a:t> file on line 145 that makes reference to the new location of the images that are being used in the prediction. The code should look as follows:</a:t>
            </a:r>
          </a:p>
          <a:p>
            <a:endParaRPr lang="en-US" sz="1200" dirty="0"/>
          </a:p>
          <a:p>
            <a:r>
              <a:rPr lang="en-US" sz="1200" dirty="0"/>
              <a:t>// this loads the images to be uploaded from disk into memory </a:t>
            </a:r>
          </a:p>
          <a:p>
            <a:r>
              <a:rPr lang="en-US" sz="1200" dirty="0" err="1"/>
              <a:t>AmpImages</a:t>
            </a:r>
            <a:r>
              <a:rPr lang="en-US" sz="1200" dirty="0"/>
              <a:t> = </a:t>
            </a:r>
            <a:r>
              <a:rPr lang="en-US" sz="1200" dirty="0" err="1"/>
              <a:t>Directory.GetFiles</a:t>
            </a:r>
            <a:r>
              <a:rPr lang="en-US" sz="1200" dirty="0"/>
              <a:t>(@"..\..\..\</a:t>
            </a:r>
            <a:r>
              <a:rPr lang="en-US" sz="1200" dirty="0" err="1"/>
              <a:t>CustomImages</a:t>
            </a:r>
            <a:r>
              <a:rPr lang="en-US" sz="1200" dirty="0"/>
              <a:t>\Amps").Select(f =&gt; new </a:t>
            </a:r>
            <a:r>
              <a:rPr lang="en-US" sz="1200" dirty="0" err="1"/>
              <a:t>MemoryStream</a:t>
            </a:r>
            <a:r>
              <a:rPr lang="en-US" sz="1200" dirty="0"/>
              <a:t>(</a:t>
            </a:r>
            <a:r>
              <a:rPr lang="en-US" sz="1200" dirty="0" err="1"/>
              <a:t>File.ReadAllBytes</a:t>
            </a:r>
            <a:r>
              <a:rPr lang="en-US" sz="1200" dirty="0"/>
              <a:t>(f))).</a:t>
            </a:r>
            <a:r>
              <a:rPr lang="en-US" sz="1200" dirty="0" err="1"/>
              <a:t>ToList</a:t>
            </a:r>
            <a:r>
              <a:rPr lang="en-US" sz="1200" dirty="0"/>
              <a:t>(); </a:t>
            </a:r>
          </a:p>
          <a:p>
            <a:r>
              <a:rPr lang="en-US" sz="1200" dirty="0" err="1"/>
              <a:t>GuitarImages</a:t>
            </a:r>
            <a:r>
              <a:rPr lang="en-US" sz="1200" dirty="0"/>
              <a:t> = </a:t>
            </a:r>
            <a:r>
              <a:rPr lang="en-US" sz="1200" dirty="0" err="1"/>
              <a:t>Directory.GetFiles</a:t>
            </a:r>
            <a:r>
              <a:rPr lang="en-US" sz="1200" dirty="0"/>
              <a:t>(@"..\..\..\</a:t>
            </a:r>
            <a:r>
              <a:rPr lang="en-US" sz="1200" dirty="0" err="1"/>
              <a:t>CustomImages</a:t>
            </a:r>
            <a:r>
              <a:rPr lang="en-US" sz="1200" dirty="0"/>
              <a:t>\Guitars").Select(f =&gt; new </a:t>
            </a:r>
            <a:r>
              <a:rPr lang="en-US" sz="1200" dirty="0" err="1"/>
              <a:t>MemoryStream</a:t>
            </a:r>
            <a:r>
              <a:rPr lang="en-US" sz="1200" dirty="0"/>
              <a:t>(</a:t>
            </a:r>
            <a:r>
              <a:rPr lang="en-US" sz="1200" dirty="0" err="1"/>
              <a:t>File.ReadAllBytes</a:t>
            </a:r>
            <a:r>
              <a:rPr lang="en-US" sz="1200" dirty="0"/>
              <a:t>(f))).</a:t>
            </a:r>
            <a:r>
              <a:rPr lang="en-US" sz="1200" dirty="0" err="1"/>
              <a:t>ToList</a:t>
            </a:r>
            <a:r>
              <a:rPr lang="en-US" sz="1200" dirty="0"/>
              <a:t>(); </a:t>
            </a:r>
          </a:p>
          <a:p>
            <a:r>
              <a:rPr lang="en-US" sz="1200" dirty="0" err="1"/>
              <a:t>testImage</a:t>
            </a:r>
            <a:r>
              <a:rPr lang="en-US" sz="1200" dirty="0"/>
              <a:t> = new </a:t>
            </a:r>
            <a:r>
              <a:rPr lang="en-US" sz="1200" dirty="0" err="1"/>
              <a:t>MemoryStream</a:t>
            </a:r>
            <a:r>
              <a:rPr lang="en-US" sz="1200" dirty="0"/>
              <a:t>(</a:t>
            </a:r>
            <a:r>
              <a:rPr lang="en-US" sz="1200" dirty="0" err="1"/>
              <a:t>File.ReadAllBytes</a:t>
            </a:r>
            <a:r>
              <a:rPr lang="en-US" sz="1200" dirty="0"/>
              <a:t>(@"..\..\..\</a:t>
            </a:r>
            <a:r>
              <a:rPr lang="en-US" sz="1200" dirty="0" err="1"/>
              <a:t>CustomImages</a:t>
            </a:r>
            <a:r>
              <a:rPr lang="en-US" sz="1200" dirty="0"/>
              <a:t>\Test\Instrument.jpg"));</a:t>
            </a:r>
          </a:p>
          <a:p>
            <a:endParaRPr lang="en-US" sz="1200" dirty="0"/>
          </a:p>
          <a:p>
            <a:r>
              <a:rPr lang="en-US" sz="1200" dirty="0"/>
              <a:t> </a:t>
            </a:r>
          </a:p>
          <a:p>
            <a:r>
              <a:rPr lang="en-US" sz="1200" b="1" dirty="0"/>
              <a:t>Step 7: Run the example</a:t>
            </a:r>
          </a:p>
          <a:p>
            <a:r>
              <a:rPr lang="en-US" sz="1200" dirty="0"/>
              <a:t>Build and run the solution. You will be required to input your training API key into the console app when </a:t>
            </a:r>
            <a:r>
              <a:rPr lang="en-US" sz="1200" dirty="0" err="1"/>
              <a:t>runing</a:t>
            </a:r>
            <a:r>
              <a:rPr lang="en-US" sz="1200" dirty="0"/>
              <a:t> the solution so have this at the ready. The training and prediction of the images can take 2 mins The prediction results appear on the console.</a:t>
            </a:r>
          </a:p>
          <a:p>
            <a:pPr marL="0" indent="0" defTabSz="986002">
              <a:spcAft>
                <a:spcPts val="359"/>
              </a:spcAft>
              <a:buFont typeface="+mj-lt"/>
              <a:buNone/>
              <a:defRPr/>
            </a:pPr>
            <a:endParaRPr lang="en-US" sz="1200" b="0" dirty="0">
              <a:cs typeface="Segoe UI Light" panose="020B0502040204020203" pitchFamily="34" charset="0"/>
            </a:endParaRPr>
          </a:p>
        </p:txBody>
      </p:sp>
      <p:sp>
        <p:nvSpPr>
          <p:cNvPr id="5" name="Slide Number Placeholder 4"/>
          <p:cNvSpPr>
            <a:spLocks noGrp="1"/>
          </p:cNvSpPr>
          <p:nvPr>
            <p:ph type="sldNum" sz="quarter" idx="11"/>
          </p:nvPr>
        </p:nvSpPr>
        <p:spPr/>
        <p:txBody>
          <a:bodyPr/>
          <a:lstStyle/>
          <a:p>
            <a:pPr defTabSz="966612">
              <a:defRPr/>
            </a:pPr>
            <a:fld id="{B4008EB6-D09E-4580-8CD6-DDB14511944F}" type="slidenum">
              <a:rPr lang="en-US" sz="1900" kern="0">
                <a:solidFill>
                  <a:prstClr val="black"/>
                </a:solidFill>
              </a:rPr>
              <a:pPr defTabSz="966612">
                <a:defRPr/>
              </a:pPr>
              <a:t>31</a:t>
            </a:fld>
            <a:endParaRPr lang="en-US" sz="1900" kern="0" dirty="0">
              <a:solidFill>
                <a:prstClr val="black"/>
              </a:solidFill>
            </a:endParaRPr>
          </a:p>
        </p:txBody>
      </p:sp>
      <p:sp>
        <p:nvSpPr>
          <p:cNvPr id="6" name="Footer Placeholder 4"/>
          <p:cNvSpPr>
            <a:spLocks noGrp="1"/>
          </p:cNvSpPr>
          <p:nvPr>
            <p:ph type="ftr" sz="quarter" idx="4"/>
          </p:nvPr>
        </p:nvSpPr>
        <p:spPr>
          <a:xfrm>
            <a:off x="0" y="9121140"/>
            <a:ext cx="6315456" cy="373762"/>
          </a:xfrm>
        </p:spPr>
        <p:txBody>
          <a:bodyPr/>
          <a:lstStyle/>
          <a:p>
            <a:pPr defTabSz="966294"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7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11853185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dirty="0"/>
              <a:t>(If time permits)</a:t>
            </a:r>
          </a:p>
          <a:p>
            <a:endParaRPr lang="en-US" sz="1200" b="1" dirty="0"/>
          </a:p>
          <a:p>
            <a:r>
              <a:rPr lang="en-US" sz="1200" b="1" dirty="0"/>
              <a:t>Modifying Custom Vision API C# Tutorial</a:t>
            </a:r>
          </a:p>
          <a:p>
            <a:r>
              <a:rPr lang="en-US" sz="1200" dirty="0"/>
              <a:t>In this lab you will take the solution from Lab 2 and modify the code to upload a new set of images, add tags to it; train the project and obtain the default prediction endpoint URL for the project. You will then use the endpoint to programmatically test an image. You can use this open source example as a template for building your own app for Windows using the Custom Vision AP. This lab deliberately has limited instructions, as it should build on the knowledge gained in Lab 2. No code is provided in this lab.</a:t>
            </a:r>
          </a:p>
          <a:p>
            <a:endParaRPr lang="en-US" sz="1200" b="1" dirty="0"/>
          </a:p>
          <a:p>
            <a:r>
              <a:rPr lang="en-US" sz="1200" b="1" dirty="0"/>
              <a:t>Prerequisites</a:t>
            </a:r>
          </a:p>
          <a:p>
            <a:endParaRPr lang="en-US" sz="1200" b="1" dirty="0"/>
          </a:p>
          <a:p>
            <a:r>
              <a:rPr lang="en-US" sz="1200" b="1" dirty="0"/>
              <a:t>Lab 2 completed</a:t>
            </a:r>
          </a:p>
          <a:p>
            <a:r>
              <a:rPr lang="en-US" sz="1200" dirty="0"/>
              <a:t>This instructions in this example relies on the fact that the previous lab has been completed. </a:t>
            </a:r>
          </a:p>
          <a:p>
            <a:endParaRPr lang="en-US" sz="1200" b="1" dirty="0"/>
          </a:p>
          <a:p>
            <a:r>
              <a:rPr lang="en-US" sz="1200" b="1" dirty="0"/>
              <a:t>Platform requirements</a:t>
            </a:r>
          </a:p>
          <a:p>
            <a:r>
              <a:rPr lang="en-US" sz="1200" dirty="0"/>
              <a:t>This example has been developed for the .NET Framework using </a:t>
            </a:r>
            <a:r>
              <a:rPr lang="en-US" sz="1200" dirty="0">
                <a:hlinkClick r:id="rId3"/>
              </a:rPr>
              <a:t>Visual Studio 2015, Community Edition</a:t>
            </a:r>
            <a:endParaRPr lang="en-US" sz="1200" dirty="0"/>
          </a:p>
          <a:p>
            <a:endParaRPr lang="en-US" sz="1200" b="1" dirty="0"/>
          </a:p>
          <a:p>
            <a:r>
              <a:rPr lang="en-US" sz="1200" b="1" dirty="0"/>
              <a:t>Training client library</a:t>
            </a:r>
          </a:p>
          <a:p>
            <a:r>
              <a:rPr lang="en-US" sz="1200" dirty="0"/>
              <a:t>You may need to install the client library. The easiest way to get the training client library is to get the </a:t>
            </a:r>
            <a:r>
              <a:rPr lang="en-US" sz="1200" dirty="0" err="1">
                <a:hlinkClick r:id="rId4"/>
              </a:rPr>
              <a:t>Microsoft.Cognitive.CustomVision.Training</a:t>
            </a:r>
            <a:r>
              <a:rPr lang="en-US" sz="1200" dirty="0"/>
              <a:t> package from </a:t>
            </a:r>
            <a:r>
              <a:rPr lang="en-US" sz="1200" dirty="0" err="1">
                <a:hlinkClick r:id="rId5"/>
              </a:rPr>
              <a:t>nuget</a:t>
            </a:r>
            <a:r>
              <a:rPr lang="en-US" sz="1200" dirty="0"/>
              <a:t>.</a:t>
            </a:r>
          </a:p>
          <a:p>
            <a:endParaRPr lang="en-US" sz="1200" b="1" dirty="0"/>
          </a:p>
          <a:p>
            <a:r>
              <a:rPr lang="en-US" sz="1200" b="1" dirty="0"/>
              <a:t>The Training API key</a:t>
            </a:r>
          </a:p>
          <a:p>
            <a:r>
              <a:rPr lang="en-US" sz="1200" dirty="0"/>
              <a:t>The training API key allows you to create, manage and train Custom Vision projects </a:t>
            </a:r>
            <a:r>
              <a:rPr lang="en-US" sz="1200" dirty="0" err="1"/>
              <a:t>programatically</a:t>
            </a:r>
            <a:r>
              <a:rPr lang="en-US" sz="1200" dirty="0"/>
              <a:t>. All operations on the </a:t>
            </a:r>
            <a:r>
              <a:rPr lang="en-US" sz="1200" dirty="0" err="1">
                <a:hlinkClick r:id="rId6"/>
              </a:rPr>
              <a:t>website</a:t>
            </a:r>
            <a:r>
              <a:rPr lang="en-US" sz="1200" dirty="0" err="1"/>
              <a:t>are</a:t>
            </a:r>
            <a:r>
              <a:rPr lang="en-US" sz="1200" dirty="0"/>
              <a:t> exposed through this library, allowing you to automate all aspects of the Custom Vision Service. You can obtain a key by creating a project at </a:t>
            </a:r>
            <a:r>
              <a:rPr lang="en-US" sz="1200" dirty="0" err="1"/>
              <a:t>at</a:t>
            </a:r>
            <a:r>
              <a:rPr lang="en-US" sz="1200" dirty="0"/>
              <a:t> the website and finding the key in the setting of the project that you have created.</a:t>
            </a:r>
          </a:p>
          <a:p>
            <a:br>
              <a:rPr lang="en-US" sz="1200" b="1" dirty="0"/>
            </a:br>
            <a:r>
              <a:rPr lang="en-US" sz="1200" b="1" dirty="0"/>
              <a:t>Lab: Modifying a Custom Vision Application</a:t>
            </a:r>
          </a:p>
          <a:p>
            <a:endParaRPr lang="en-US" sz="1200" b="1" dirty="0"/>
          </a:p>
          <a:p>
            <a:r>
              <a:rPr lang="en-US" sz="1200" b="1" dirty="0"/>
              <a:t>Step 1: Create a console application and prepare the training key and the images needed for the example.</a:t>
            </a:r>
          </a:p>
          <a:p>
            <a:r>
              <a:rPr lang="en-US" sz="1200" dirty="0"/>
              <a:t>Start Visual Studio 2017, Community Edition, open the Visual Studio solution named CustomVision.Sample.sln in location \Lab\Starter\Cognitive-</a:t>
            </a:r>
            <a:r>
              <a:rPr lang="en-US" sz="1200" dirty="0" err="1"/>
              <a:t>CustomVision</a:t>
            </a:r>
            <a:r>
              <a:rPr lang="en-US" sz="1200" dirty="0"/>
              <a:t>-Windows\Samples\</a:t>
            </a:r>
            <a:r>
              <a:rPr lang="en-US" sz="1200" dirty="0" err="1"/>
              <a:t>CustomVision.Sample</a:t>
            </a:r>
            <a:r>
              <a:rPr lang="en-US" sz="1200" dirty="0"/>
              <a:t>. This code defines a solution for training images using a custom.ai training key. The images for this particular lab can be found at \Lab\Starter in a folder called </a:t>
            </a:r>
            <a:r>
              <a:rPr lang="en-US" sz="1200" dirty="0" err="1"/>
              <a:t>LabImages</a:t>
            </a:r>
            <a:r>
              <a:rPr lang="en-US" sz="1200" dirty="0"/>
              <a:t>. Use these images as you see fit. Once used, the solution performs a classification prediction on a test image that is uploaded. On opening the project the following code should be displayed from line 35.</a:t>
            </a:r>
          </a:p>
          <a:p>
            <a:endParaRPr lang="en-US" sz="1200" b="1" dirty="0"/>
          </a:p>
          <a:p>
            <a:r>
              <a:rPr lang="en-US" sz="1200" b="1" dirty="0"/>
              <a:t>Step 2: Change the memory stream definition</a:t>
            </a:r>
          </a:p>
          <a:p>
            <a:r>
              <a:rPr lang="en-US" sz="1200" dirty="0"/>
              <a:t>Change the variable names for the list items to match the names defined for the image types</a:t>
            </a:r>
          </a:p>
          <a:p>
            <a:endParaRPr lang="en-US" sz="1200" b="1" dirty="0"/>
          </a:p>
          <a:p>
            <a:r>
              <a:rPr lang="en-US" sz="1200" b="1" dirty="0"/>
              <a:t>Step 3: Modify a Custom Vision Service project name</a:t>
            </a:r>
          </a:p>
          <a:p>
            <a:r>
              <a:rPr lang="en-US" sz="1200" dirty="0"/>
              <a:t>Modify Custom Vision Service project name to “My Third Project”, add the following change in the code in your </a:t>
            </a:r>
            <a:r>
              <a:rPr lang="en-US" sz="1200" b="1" dirty="0"/>
              <a:t>Main()</a:t>
            </a:r>
            <a:r>
              <a:rPr lang="en-US" sz="1200" dirty="0"/>
              <a:t> method after the call to </a:t>
            </a:r>
            <a:r>
              <a:rPr lang="en-US" sz="1200" b="1" dirty="0" err="1"/>
              <a:t>LoadImagesFromDisk</a:t>
            </a:r>
            <a:r>
              <a:rPr lang="en-US" sz="1200" b="1" dirty="0"/>
              <a:t>().</a:t>
            </a:r>
            <a:endParaRPr lang="en-US" sz="1200" dirty="0"/>
          </a:p>
          <a:p>
            <a:endParaRPr lang="en-US" sz="1200" b="1" dirty="0"/>
          </a:p>
          <a:p>
            <a:r>
              <a:rPr lang="en-US" sz="1200" b="1" dirty="0"/>
              <a:t>Step 4: Add tags to your project</a:t>
            </a:r>
          </a:p>
          <a:p>
            <a:r>
              <a:rPr lang="en-US" sz="1200" dirty="0"/>
              <a:t>Create new tags to your project to distinguish between pools and tracks, insert the following code after the call to </a:t>
            </a:r>
            <a:r>
              <a:rPr lang="en-US" sz="1200" b="1" dirty="0" err="1"/>
              <a:t>CreateProject</a:t>
            </a:r>
            <a:r>
              <a:rPr lang="en-US" sz="1200" b="1" dirty="0"/>
              <a:t>(”My Third Project”);</a:t>
            </a:r>
            <a:r>
              <a:rPr lang="en-US" sz="1200" dirty="0"/>
              <a:t>.</a:t>
            </a:r>
          </a:p>
          <a:p>
            <a:endParaRPr lang="en-US" sz="1200" b="1" dirty="0"/>
          </a:p>
          <a:p>
            <a:r>
              <a:rPr lang="en-US" sz="1200" b="1" dirty="0"/>
              <a:t>Step 5: Upload images to the project</a:t>
            </a:r>
          </a:p>
          <a:p>
            <a:r>
              <a:rPr lang="en-US" sz="1200" dirty="0"/>
              <a:t>To add the images we have in memory to the project, insert the following code after the call to </a:t>
            </a:r>
            <a:r>
              <a:rPr lang="en-US" sz="1200" b="1" dirty="0" err="1"/>
              <a:t>CreateTag</a:t>
            </a:r>
            <a:r>
              <a:rPr lang="en-US" sz="1200" b="1" dirty="0"/>
              <a:t>(</a:t>
            </a:r>
            <a:r>
              <a:rPr lang="en-US" sz="1200" b="1" dirty="0" err="1"/>
              <a:t>project.Id</a:t>
            </a:r>
            <a:r>
              <a:rPr lang="en-US" sz="1200" b="1" dirty="0"/>
              <a:t>, "Tracks")</a:t>
            </a:r>
            <a:r>
              <a:rPr lang="en-US" sz="1200" dirty="0"/>
              <a:t> method.</a:t>
            </a:r>
          </a:p>
          <a:p>
            <a:endParaRPr lang="en-US" sz="1200" b="1" dirty="0"/>
          </a:p>
          <a:p>
            <a:r>
              <a:rPr lang="en-US" sz="1200" b="1" dirty="0"/>
              <a:t>Step 6: Redefine the </a:t>
            </a:r>
            <a:r>
              <a:rPr lang="en-US" sz="1200" b="1" dirty="0" err="1"/>
              <a:t>LoadImagesFromDisk</a:t>
            </a:r>
            <a:r>
              <a:rPr lang="en-US" sz="1200" b="1" dirty="0"/>
              <a:t>() method</a:t>
            </a:r>
          </a:p>
          <a:p>
            <a:r>
              <a:rPr lang="en-US" sz="1200" dirty="0"/>
              <a:t>Use the images from the Images folder In this folder are three folders. The Pools folder contains pictures of swimming pools. The Tracks folder contains pictures of athletics tracks. These folders are used in the training of the classification model. The final folder named test contains a single picture named Sport.jpg that will be used to perform the prediction.</a:t>
            </a:r>
          </a:p>
          <a:p>
            <a:r>
              <a:rPr lang="en-US" sz="1200" dirty="0"/>
              <a:t>Modify the code at the end of the </a:t>
            </a:r>
            <a:r>
              <a:rPr lang="en-US" sz="1200" dirty="0" err="1"/>
              <a:t>Program.cs</a:t>
            </a:r>
            <a:r>
              <a:rPr lang="en-US" sz="1200" dirty="0"/>
              <a:t> file on line 145 that makes reference to the new location of the images that are being used in the prediction. The code should look as follows:</a:t>
            </a:r>
          </a:p>
          <a:p>
            <a:endParaRPr lang="en-US" sz="1200" b="1" dirty="0"/>
          </a:p>
          <a:p>
            <a:r>
              <a:rPr lang="en-US" sz="1200" b="1" dirty="0"/>
              <a:t>Step 7: Run the example</a:t>
            </a:r>
          </a:p>
          <a:p>
            <a:r>
              <a:rPr lang="en-US" sz="1200" dirty="0"/>
              <a:t>Build and run the solution. You will be required to input your training API key into the console app when </a:t>
            </a:r>
            <a:r>
              <a:rPr lang="en-US" sz="1200" dirty="0" err="1"/>
              <a:t>runing</a:t>
            </a:r>
            <a:r>
              <a:rPr lang="en-US" sz="1200" dirty="0"/>
              <a:t> the solution so have this at the ready. The training and prediction of the images can take 2 mins The prediction results appear on the console</a:t>
            </a:r>
          </a:p>
        </p:txBody>
      </p:sp>
      <p:sp>
        <p:nvSpPr>
          <p:cNvPr id="5" name="Slide Number Placeholder 4"/>
          <p:cNvSpPr>
            <a:spLocks noGrp="1"/>
          </p:cNvSpPr>
          <p:nvPr>
            <p:ph type="sldNum" sz="quarter" idx="11"/>
          </p:nvPr>
        </p:nvSpPr>
        <p:spPr/>
        <p:txBody>
          <a:bodyPr/>
          <a:lstStyle/>
          <a:p>
            <a:pPr defTabSz="966612">
              <a:defRPr/>
            </a:pPr>
            <a:fld id="{B4008EB6-D09E-4580-8CD6-DDB14511944F}" type="slidenum">
              <a:rPr lang="en-US" sz="1900" kern="0">
                <a:solidFill>
                  <a:prstClr val="black"/>
                </a:solidFill>
              </a:rPr>
              <a:pPr defTabSz="966612">
                <a:defRPr/>
              </a:pPr>
              <a:t>32</a:t>
            </a:fld>
            <a:endParaRPr lang="en-US" sz="1900" kern="0" dirty="0">
              <a:solidFill>
                <a:prstClr val="black"/>
              </a:solidFill>
            </a:endParaRPr>
          </a:p>
        </p:txBody>
      </p:sp>
      <p:sp>
        <p:nvSpPr>
          <p:cNvPr id="6" name="Footer Placeholder 4"/>
          <p:cNvSpPr>
            <a:spLocks noGrp="1"/>
          </p:cNvSpPr>
          <p:nvPr>
            <p:ph type="ftr" sz="quarter" idx="4"/>
          </p:nvPr>
        </p:nvSpPr>
        <p:spPr>
          <a:xfrm>
            <a:off x="0" y="9121140"/>
            <a:ext cx="6315456" cy="373762"/>
          </a:xfrm>
        </p:spPr>
        <p:txBody>
          <a:bodyPr/>
          <a:lstStyle/>
          <a:p>
            <a:pPr defTabSz="966294"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7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124389053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5" name="Footer Placeholder 4"/>
          <p:cNvSpPr>
            <a:spLocks noGrp="1"/>
          </p:cNvSpPr>
          <p:nvPr>
            <p:ph type="ftr" sz="quarter" idx="11"/>
          </p:nvPr>
        </p:nvSpPr>
        <p:spPr/>
        <p:txBody>
          <a:bodyPr/>
          <a:lstStyle/>
          <a:p>
            <a:pPr defTabSz="966294"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7 Microsoft Corporation. All rights reserved. MICROSOFT MAKES NO WARRANTIES, EXPRESS, IMPLIED OR STATUTORY, AS TO THE INFORMATION IN THIS PRESENTATION.</a:t>
            </a:r>
          </a:p>
        </p:txBody>
      </p:sp>
      <p:sp>
        <p:nvSpPr>
          <p:cNvPr id="7" name="Slide Number Placeholder 6"/>
          <p:cNvSpPr>
            <a:spLocks noGrp="1"/>
          </p:cNvSpPr>
          <p:nvPr>
            <p:ph type="sldNum" sz="quarter" idx="13"/>
          </p:nvPr>
        </p:nvSpPr>
        <p:spPr/>
        <p:txBody>
          <a:bodyPr/>
          <a:lstStyle/>
          <a:p>
            <a:fld id="{B4008EB6-D09E-4580-8CD6-DDB14511944F}" type="slidenum">
              <a:rPr lang="en-US" smtClean="0"/>
              <a:pPr/>
              <a:t>33</a:t>
            </a:fld>
            <a:endParaRPr lang="en-US" dirty="0"/>
          </a:p>
        </p:txBody>
      </p:sp>
    </p:spTree>
    <p:extLst>
      <p:ext uri="{BB962C8B-B14F-4D97-AF65-F5344CB8AC3E}">
        <p14:creationId xmlns:p14="http://schemas.microsoft.com/office/powerpoint/2010/main" val="225427279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GB" b="0" dirty="0"/>
              <a:t>Manage Cognitive Services in the Azure Cloud or test them with temporary access.</a:t>
            </a:r>
          </a:p>
          <a:p>
            <a:pPr marL="0" marR="0" indent="0" algn="l" defTabSz="932742" rtl="0" eaLnBrk="1" fontAlgn="auto" latinLnBrk="0" hangingPunct="1">
              <a:lnSpc>
                <a:spcPct val="90000"/>
              </a:lnSpc>
              <a:spcBef>
                <a:spcPts val="0"/>
              </a:spcBef>
              <a:spcAft>
                <a:spcPts val="340"/>
              </a:spcAft>
              <a:buClrTx/>
              <a:buSzTx/>
              <a:buFontTx/>
              <a:buNone/>
              <a:tabLst/>
              <a:defRPr/>
            </a:pPr>
            <a:endParaRPr lang="en-GB" b="0" dirty="0"/>
          </a:p>
          <a:p>
            <a:pPr marL="0" marR="0" indent="0" algn="l" defTabSz="932742" rtl="0" eaLnBrk="1" fontAlgn="auto" latinLnBrk="0" hangingPunct="1">
              <a:lnSpc>
                <a:spcPct val="90000"/>
              </a:lnSpc>
              <a:spcBef>
                <a:spcPts val="0"/>
              </a:spcBef>
              <a:spcAft>
                <a:spcPts val="340"/>
              </a:spcAft>
              <a:buClrTx/>
              <a:buSzTx/>
              <a:buFontTx/>
              <a:buNone/>
              <a:tabLst/>
              <a:defRPr/>
            </a:pPr>
            <a:r>
              <a:rPr lang="en-US" b="0" dirty="0"/>
              <a:t>https://azure.microsoft.com/en-gb/services/cognitive-services/directory/</a:t>
            </a:r>
          </a:p>
          <a:p>
            <a:pPr marL="0" marR="0" indent="0" algn="l" defTabSz="932742" rtl="0" eaLnBrk="1" fontAlgn="auto" latinLnBrk="0" hangingPunct="1">
              <a:lnSpc>
                <a:spcPct val="90000"/>
              </a:lnSpc>
              <a:spcBef>
                <a:spcPts val="0"/>
              </a:spcBef>
              <a:spcAft>
                <a:spcPts val="340"/>
              </a:spcAft>
              <a:buClrTx/>
              <a:buSzTx/>
              <a:buFontTx/>
              <a:buNone/>
              <a:tabLst/>
              <a:defRPr/>
            </a:pPr>
            <a:endParaRPr lang="en-US" b="0" dirty="0"/>
          </a:p>
          <a:p>
            <a:pPr marL="0" marR="0" indent="0" algn="l" defTabSz="932742" rtl="0" eaLnBrk="1" fontAlgn="auto" latinLnBrk="0" hangingPunct="1">
              <a:lnSpc>
                <a:spcPct val="90000"/>
              </a:lnSpc>
              <a:spcBef>
                <a:spcPts val="0"/>
              </a:spcBef>
              <a:spcAft>
                <a:spcPts val="340"/>
              </a:spcAft>
              <a:buClrTx/>
              <a:buSzTx/>
              <a:buFontTx/>
              <a:buNone/>
              <a:tabLst/>
              <a:defRPr/>
            </a:pPr>
            <a:endParaRPr lang="en-US" b="0" dirty="0"/>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78328032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gnitive Services has a number of API’s around vision including:</a:t>
            </a:r>
          </a:p>
          <a:p>
            <a:endParaRPr lang="en-GB" dirty="0"/>
          </a:p>
          <a:p>
            <a:r>
              <a:rPr lang="en-GB" b="1" dirty="0">
                <a:effectLst/>
                <a:hlinkClick r:id="rId3"/>
              </a:rPr>
              <a:t>Custom Vision Service</a:t>
            </a:r>
            <a:r>
              <a:rPr lang="en-GB" b="1" dirty="0">
                <a:effectLst/>
              </a:rPr>
              <a:t> </a:t>
            </a:r>
          </a:p>
          <a:p>
            <a:r>
              <a:rPr lang="en-GB" b="1" dirty="0"/>
              <a:t>PREVIEW</a:t>
            </a:r>
            <a:r>
              <a:rPr lang="en-GB" dirty="0"/>
              <a:t> Easily customise your own state-of-the-art computer vision models for your unique use case</a:t>
            </a:r>
          </a:p>
          <a:p>
            <a:r>
              <a:rPr lang="en-GB" dirty="0">
                <a:hlinkClick r:id="rId4"/>
              </a:rPr>
              <a:t>Try Custom Vision Service</a:t>
            </a:r>
            <a:endParaRPr lang="en-GB" dirty="0"/>
          </a:p>
          <a:p>
            <a:endParaRPr lang="en-GB" b="1" dirty="0">
              <a:effectLst/>
              <a:hlinkClick r:id="rId5"/>
            </a:endParaRPr>
          </a:p>
          <a:p>
            <a:r>
              <a:rPr lang="en-GB" b="1" dirty="0">
                <a:effectLst/>
                <a:hlinkClick r:id="rId5"/>
              </a:rPr>
              <a:t>Computer Vision API</a:t>
            </a:r>
            <a:r>
              <a:rPr lang="en-GB" b="1" dirty="0">
                <a:effectLst/>
              </a:rPr>
              <a:t> </a:t>
            </a:r>
          </a:p>
          <a:p>
            <a:r>
              <a:rPr lang="en-GB" dirty="0" err="1"/>
              <a:t>Distill</a:t>
            </a:r>
            <a:r>
              <a:rPr lang="en-GB" dirty="0"/>
              <a:t> actionable information from images</a:t>
            </a:r>
          </a:p>
          <a:p>
            <a:r>
              <a:rPr lang="en-GB" dirty="0">
                <a:hlinkClick r:id="rId6"/>
              </a:rPr>
              <a:t>Try Computer Vision API</a:t>
            </a:r>
            <a:r>
              <a:rPr lang="en-GB" dirty="0"/>
              <a:t> | </a:t>
            </a:r>
            <a:r>
              <a:rPr lang="en-GB" dirty="0">
                <a:hlinkClick r:id="rId7"/>
              </a:rPr>
              <a:t>Use with an Azure subscription</a:t>
            </a:r>
            <a:endParaRPr lang="en-GB" dirty="0"/>
          </a:p>
          <a:p>
            <a:endParaRPr lang="en-GB" dirty="0"/>
          </a:p>
          <a:p>
            <a:r>
              <a:rPr lang="en-GB" b="1" dirty="0">
                <a:effectLst/>
                <a:hlinkClick r:id="rId8"/>
              </a:rPr>
              <a:t>Face API</a:t>
            </a:r>
            <a:r>
              <a:rPr lang="en-GB" b="1" dirty="0">
                <a:effectLst/>
              </a:rPr>
              <a:t> </a:t>
            </a:r>
          </a:p>
          <a:p>
            <a:r>
              <a:rPr lang="en-GB" dirty="0"/>
              <a:t>Detect, identify, analyse, organise and tag faces in photos</a:t>
            </a:r>
          </a:p>
          <a:p>
            <a:r>
              <a:rPr lang="en-GB" dirty="0">
                <a:hlinkClick r:id="rId9"/>
              </a:rPr>
              <a:t>Try Face API</a:t>
            </a:r>
            <a:r>
              <a:rPr lang="en-GB" dirty="0"/>
              <a:t> | </a:t>
            </a:r>
            <a:r>
              <a:rPr lang="en-GB" dirty="0">
                <a:hlinkClick r:id="rId7"/>
              </a:rPr>
              <a:t>Use with an Azure subscription</a:t>
            </a:r>
            <a:endParaRPr lang="en-GB" dirty="0"/>
          </a:p>
          <a:p>
            <a:endParaRPr lang="en-GB" dirty="0"/>
          </a:p>
          <a:p>
            <a:r>
              <a:rPr lang="en-GB" b="1" dirty="0">
                <a:effectLst/>
                <a:hlinkClick r:id="rId10"/>
              </a:rPr>
              <a:t>Content moderator</a:t>
            </a:r>
            <a:r>
              <a:rPr lang="en-GB" b="1" dirty="0">
                <a:effectLst/>
              </a:rPr>
              <a:t> </a:t>
            </a:r>
          </a:p>
          <a:p>
            <a:r>
              <a:rPr lang="en-GB" dirty="0"/>
              <a:t>Automated image, text and video moderation</a:t>
            </a:r>
          </a:p>
          <a:p>
            <a:r>
              <a:rPr lang="en-GB" dirty="0">
                <a:hlinkClick r:id="rId11"/>
              </a:rPr>
              <a:t>Use with an Azure subscription</a:t>
            </a:r>
            <a:endParaRPr lang="en-GB" dirty="0"/>
          </a:p>
          <a:p>
            <a:endParaRPr lang="en-GB" dirty="0"/>
          </a:p>
          <a:p>
            <a:r>
              <a:rPr lang="en-GB" b="1" dirty="0">
                <a:effectLst/>
                <a:hlinkClick r:id="rId12"/>
              </a:rPr>
              <a:t>Emotion API</a:t>
            </a:r>
            <a:r>
              <a:rPr lang="en-GB" b="1" dirty="0">
                <a:effectLst/>
              </a:rPr>
              <a:t> </a:t>
            </a:r>
          </a:p>
          <a:p>
            <a:r>
              <a:rPr lang="en-GB" b="1" dirty="0"/>
              <a:t>PREVIEW</a:t>
            </a:r>
            <a:r>
              <a:rPr lang="en-GB" dirty="0"/>
              <a:t> Personalise user experiences with emotion recognition</a:t>
            </a:r>
          </a:p>
          <a:p>
            <a:r>
              <a:rPr lang="en-GB" dirty="0">
                <a:hlinkClick r:id="rId13"/>
              </a:rPr>
              <a:t>Try Emotion API</a:t>
            </a:r>
            <a:r>
              <a:rPr lang="en-GB" dirty="0"/>
              <a:t> | </a:t>
            </a:r>
            <a:r>
              <a:rPr lang="en-GB" dirty="0">
                <a:hlinkClick r:id="rId7"/>
              </a:rPr>
              <a:t>Use with an Azure subscription</a:t>
            </a:r>
            <a:endParaRPr lang="en-GB" dirty="0"/>
          </a:p>
          <a:p>
            <a:endParaRPr lang="en-GB" dirty="0"/>
          </a:p>
          <a:p>
            <a:r>
              <a:rPr lang="en-GB" b="1" dirty="0">
                <a:effectLst/>
                <a:hlinkClick r:id="rId14"/>
              </a:rPr>
              <a:t>Video API</a:t>
            </a:r>
            <a:r>
              <a:rPr lang="en-GB" b="1" dirty="0">
                <a:effectLst/>
              </a:rPr>
              <a:t> </a:t>
            </a:r>
          </a:p>
          <a:p>
            <a:r>
              <a:rPr lang="en-GB" b="1" dirty="0"/>
              <a:t>PREVIEW</a:t>
            </a:r>
            <a:r>
              <a:rPr lang="en-GB" dirty="0"/>
              <a:t> Intelligent video processing</a:t>
            </a:r>
          </a:p>
          <a:p>
            <a:r>
              <a:rPr lang="en-GB" dirty="0">
                <a:hlinkClick r:id="rId7"/>
              </a:rPr>
              <a:t>Use with an Azure subscription</a:t>
            </a:r>
            <a:endParaRPr lang="en-GB" dirty="0"/>
          </a:p>
          <a:p>
            <a:endParaRPr lang="en-GB" dirty="0"/>
          </a:p>
          <a:p>
            <a:r>
              <a:rPr lang="en-GB" b="1" dirty="0">
                <a:effectLst/>
                <a:hlinkClick r:id="rId15"/>
              </a:rPr>
              <a:t>Video Indexer</a:t>
            </a:r>
            <a:r>
              <a:rPr lang="en-GB" b="1" dirty="0">
                <a:effectLst/>
              </a:rPr>
              <a:t> </a:t>
            </a:r>
          </a:p>
          <a:p>
            <a:r>
              <a:rPr lang="en-GB" b="1" dirty="0"/>
              <a:t>PREVIEW</a:t>
            </a:r>
            <a:r>
              <a:rPr lang="en-GB" dirty="0"/>
              <a:t> Unlock video insights</a:t>
            </a:r>
          </a:p>
          <a:p>
            <a:r>
              <a:rPr lang="en-GB" dirty="0">
                <a:hlinkClick r:id="rId16"/>
              </a:rPr>
              <a:t>Try Video Indexer</a:t>
            </a:r>
            <a:endParaRPr lang="en-GB" dirty="0"/>
          </a:p>
          <a:p>
            <a:endParaRPr lang="en-GB" dirty="0"/>
          </a:p>
          <a:p>
            <a:r>
              <a:rPr lang="en-GB" dirty="0"/>
              <a:t>Reference:</a:t>
            </a:r>
          </a:p>
          <a:p>
            <a:endParaRPr lang="en-GB" dirty="0"/>
          </a:p>
          <a:p>
            <a:r>
              <a:rPr lang="en-GB" dirty="0"/>
              <a:t>https://azure.microsoft.com/en-gb/services/cognitive-services/directory/vision/</a:t>
            </a:r>
          </a:p>
          <a:p>
            <a:endParaRPr lang="en-GB" dirty="0"/>
          </a:p>
          <a:p>
            <a:endParaRPr lang="en-GB" dirty="0"/>
          </a:p>
          <a:p>
            <a:endParaRPr lang="en-US" dirty="0"/>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53417326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74320" y="4217670"/>
            <a:ext cx="6297930" cy="4594860"/>
          </a:xfrm>
        </p:spPr>
        <p:txBody>
          <a:bodyPr/>
          <a:lstStyle/>
          <a:p>
            <a:pPr rtl="0"/>
            <a:r>
              <a:rPr lang="en-GB" sz="1000" dirty="0"/>
              <a:t>https://customvision.ai</a:t>
            </a:r>
            <a:endParaRPr lang="en-US" sz="1000" b="0"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4"/>
          </p:nvPr>
        </p:nvSpPr>
        <p:spPr>
          <a:xfrm>
            <a:off x="0" y="9121140"/>
            <a:ext cx="6315456" cy="373762"/>
          </a:xfrm>
        </p:spPr>
        <p:txBody>
          <a:bodyPr/>
          <a:lstStyle/>
          <a:p>
            <a:pPr defTabSz="966294"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7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7573199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74320" y="4217670"/>
            <a:ext cx="6297930" cy="4594860"/>
          </a:xfrm>
        </p:spPr>
        <p:txBody>
          <a:bodyPr/>
          <a:lstStyle/>
          <a:p>
            <a:pPr marL="0" indent="0">
              <a:buFont typeface="+mj-lt"/>
              <a:buNone/>
            </a:pPr>
            <a:r>
              <a:rPr lang="en-US" sz="1000" b="0" dirty="0"/>
              <a:t>Two client libraries that can be used to develop a Custom Vision application:</a:t>
            </a:r>
          </a:p>
          <a:p>
            <a:pPr marL="0" indent="0">
              <a:buFont typeface="+mj-lt"/>
              <a:buNone/>
            </a:pPr>
            <a:endParaRPr lang="en-US" sz="1000" b="0" dirty="0"/>
          </a:p>
          <a:p>
            <a:pPr marL="0" indent="0">
              <a:buFont typeface="+mj-lt"/>
              <a:buNone/>
            </a:pPr>
            <a:r>
              <a:rPr lang="en-GB" sz="1000" b="1" dirty="0" err="1"/>
              <a:t>Microsoft.Cognitive.CustomVision.Training</a:t>
            </a:r>
            <a:endParaRPr lang="en-GB" sz="1000" b="1" dirty="0"/>
          </a:p>
          <a:p>
            <a:pPr marL="0" indent="0">
              <a:buFont typeface="+mj-lt"/>
              <a:buNone/>
            </a:pPr>
            <a:endParaRPr lang="en-GB" sz="1000" b="1" dirty="0"/>
          </a:p>
          <a:p>
            <a:pPr marL="0" indent="0">
              <a:buFont typeface="+mj-lt"/>
              <a:buNone/>
            </a:pPr>
            <a:r>
              <a:rPr lang="en-US" sz="1000" dirty="0"/>
              <a:t>Gives you full access to the Custom Vision training SDK, allowing you to </a:t>
            </a:r>
            <a:r>
              <a:rPr lang="en-US" sz="1000" dirty="0" err="1"/>
              <a:t>programatically</a:t>
            </a:r>
            <a:r>
              <a:rPr lang="en-US" sz="1000" dirty="0"/>
              <a:t> perform any management operations possible through the Custom Vision website. </a:t>
            </a:r>
          </a:p>
          <a:p>
            <a:pPr marL="0" indent="0">
              <a:buFont typeface="+mj-lt"/>
              <a:buNone/>
            </a:pPr>
            <a:endParaRPr lang="en-US" sz="1000" b="0" dirty="0"/>
          </a:p>
          <a:p>
            <a:pPr marL="0" indent="0">
              <a:buFont typeface="+mj-lt"/>
              <a:buNone/>
            </a:pPr>
            <a:r>
              <a:rPr lang="en-US" sz="1000" b="0" dirty="0"/>
              <a:t>Reference:</a:t>
            </a:r>
          </a:p>
          <a:p>
            <a:pPr marL="0" indent="0">
              <a:buFont typeface="+mj-lt"/>
              <a:buNone/>
            </a:pPr>
            <a:r>
              <a:rPr lang="en-US" sz="1000" b="0" dirty="0"/>
              <a:t>https://www.nuget.org/packages/Microsoft.Cognitive.CustomVision.Training/</a:t>
            </a:r>
          </a:p>
          <a:p>
            <a:pPr marL="0" indent="0">
              <a:buFont typeface="+mj-lt"/>
              <a:buNone/>
            </a:pPr>
            <a:endParaRPr lang="en-US" sz="1000" b="0" dirty="0"/>
          </a:p>
          <a:p>
            <a:pPr marL="0" indent="0">
              <a:buFont typeface="+mj-lt"/>
              <a:buNone/>
            </a:pPr>
            <a:r>
              <a:rPr lang="en-GB" sz="1000" b="1" dirty="0" err="1"/>
              <a:t>Microsoft.Cognitive.CustomVision.Prediction</a:t>
            </a:r>
            <a:endParaRPr lang="en-GB" sz="1000" b="1" dirty="0"/>
          </a:p>
          <a:p>
            <a:pPr marL="0" indent="0">
              <a:buFont typeface="+mj-lt"/>
              <a:buNone/>
            </a:pPr>
            <a:endParaRPr lang="en-GB" sz="1000" b="1" dirty="0"/>
          </a:p>
          <a:p>
            <a:pPr marL="0" indent="0">
              <a:buFont typeface="+mj-lt"/>
              <a:buNone/>
            </a:pPr>
            <a:r>
              <a:rPr lang="en-US" sz="1000" dirty="0"/>
              <a:t>Allows you to programmatically predict an image against a trained Custom Vision endpoint.</a:t>
            </a:r>
          </a:p>
          <a:p>
            <a:pPr marL="0" indent="0">
              <a:buFont typeface="+mj-lt"/>
              <a:buNone/>
            </a:pPr>
            <a:endParaRPr lang="en-US" sz="1000" b="1" dirty="0"/>
          </a:p>
          <a:p>
            <a:pPr marL="0" indent="0">
              <a:buFont typeface="+mj-lt"/>
              <a:buNone/>
            </a:pPr>
            <a:r>
              <a:rPr lang="en-US" sz="1000" b="0" dirty="0"/>
              <a:t>Reference:</a:t>
            </a:r>
            <a:endParaRPr lang="en-GB" sz="1000" b="1" dirty="0"/>
          </a:p>
          <a:p>
            <a:pPr marL="0" indent="0">
              <a:buFont typeface="+mj-lt"/>
              <a:buNone/>
            </a:pPr>
            <a:r>
              <a:rPr lang="en-US" sz="1000" b="0" dirty="0"/>
              <a:t>https://www.nuget.org/packages/Microsoft.Cognitive.CustomVision.Prediction/</a:t>
            </a: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4"/>
          </p:nvPr>
        </p:nvSpPr>
        <p:spPr>
          <a:xfrm>
            <a:off x="0" y="9121140"/>
            <a:ext cx="6315456" cy="373762"/>
          </a:xfrm>
        </p:spPr>
        <p:txBody>
          <a:bodyPr/>
          <a:lstStyle/>
          <a:p>
            <a:pPr defTabSz="966294"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7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194513110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5" name="Footer Placeholder 4"/>
          <p:cNvSpPr>
            <a:spLocks noGrp="1"/>
          </p:cNvSpPr>
          <p:nvPr>
            <p:ph type="ftr" sz="quarter" idx="11"/>
          </p:nvPr>
        </p:nvSpPr>
        <p:spPr/>
        <p:txBody>
          <a:bodyPr/>
          <a:lstStyle/>
          <a:p>
            <a:pPr defTabSz="966294"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7 Microsoft Corporation. All rights reserved. MICROSOFT MAKES NO WARRANTIES, EXPRESS, IMPLIED OR STATUTORY, AS TO THE INFORMATION IN THIS PRESENTATION.</a:t>
            </a:r>
          </a:p>
        </p:txBody>
      </p:sp>
      <p:sp>
        <p:nvSpPr>
          <p:cNvPr id="7" name="Slide Number Placeholder 6"/>
          <p:cNvSpPr>
            <a:spLocks noGrp="1"/>
          </p:cNvSpPr>
          <p:nvPr>
            <p:ph type="sldNum" sz="quarter" idx="13"/>
          </p:nvPr>
        </p:nvSpPr>
        <p:spPr/>
        <p:txBody>
          <a:bodyPr/>
          <a:lstStyle/>
          <a:p>
            <a:fld id="{B4008EB6-D09E-4580-8CD6-DDB14511944F}" type="slidenum">
              <a:rPr lang="en-US" smtClean="0"/>
              <a:pPr/>
              <a:t>38</a:t>
            </a:fld>
            <a:endParaRPr lang="en-US" dirty="0"/>
          </a:p>
        </p:txBody>
      </p:sp>
    </p:spTree>
    <p:extLst>
      <p:ext uri="{BB962C8B-B14F-4D97-AF65-F5344CB8AC3E}">
        <p14:creationId xmlns:p14="http://schemas.microsoft.com/office/powerpoint/2010/main" val="40845124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9</a:t>
            </a:fld>
            <a:endParaRPr lang="en-US" dirty="0"/>
          </a:p>
        </p:txBody>
      </p:sp>
      <p:sp>
        <p:nvSpPr>
          <p:cNvPr id="8" name="Footer Placeholder 4"/>
          <p:cNvSpPr>
            <a:spLocks noGrp="1"/>
          </p:cNvSpPr>
          <p:nvPr>
            <p:ph type="ftr" sz="quarter" idx="4"/>
          </p:nvPr>
        </p:nvSpPr>
        <p:spPr>
          <a:xfrm>
            <a:off x="0" y="9121140"/>
            <a:ext cx="6315456" cy="373762"/>
          </a:xfrm>
        </p:spPr>
        <p:txBody>
          <a:bodyPr/>
          <a:lstStyle/>
          <a:p>
            <a:pPr defTabSz="966294"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7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17303021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With Cognitive Services, you can </a:t>
            </a:r>
            <a:r>
              <a:rPr lang="en-GB" dirty="0"/>
              <a:t>infuse your apps, websites and bots with intelligent algorithms to see, hear, speak, understand and interpret your user needs through natural methods of communication. </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GB" dirty="0"/>
          </a:p>
          <a:p>
            <a:pPr marL="0" marR="0" lvl="0" indent="0" algn="l" defTabSz="932742" rtl="0" eaLnBrk="1" fontAlgn="auto" latinLnBrk="0" hangingPunct="1">
              <a:lnSpc>
                <a:spcPct val="90000"/>
              </a:lnSpc>
              <a:spcBef>
                <a:spcPts val="0"/>
              </a:spcBef>
              <a:spcAft>
                <a:spcPts val="340"/>
              </a:spcAft>
              <a:buClrTx/>
              <a:buSzTx/>
              <a:buFontTx/>
              <a:buNone/>
              <a:tabLst/>
              <a:defRPr/>
            </a:pPr>
            <a:r>
              <a:rPr lang="en-GB" dirty="0"/>
              <a:t>Transform your business with AI today.</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GB" dirty="0"/>
          </a:p>
          <a:p>
            <a:pPr marL="0" marR="0" lvl="0" indent="0" algn="l" defTabSz="932742" rtl="0" eaLnBrk="1" fontAlgn="auto" latinLnBrk="0" hangingPunct="1">
              <a:lnSpc>
                <a:spcPct val="90000"/>
              </a:lnSpc>
              <a:spcBef>
                <a:spcPts val="0"/>
              </a:spcBef>
              <a:spcAft>
                <a:spcPts val="340"/>
              </a:spcAft>
              <a:buClrTx/>
              <a:buSzTx/>
              <a:buFontTx/>
              <a:buNone/>
              <a:tabLst/>
              <a:defRPr/>
            </a:pPr>
            <a:r>
              <a:rPr lang="en-GB" dirty="0"/>
              <a:t>Reference:</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GB"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https://azure.microsoft.com/en-gb/services/cognitive-services/</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0402563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GB" b="0" dirty="0"/>
              <a:t>Manage Cognitive Services in the Azure Cloud or test them with temporary access.</a:t>
            </a:r>
          </a:p>
          <a:p>
            <a:pPr marL="0" marR="0" indent="0" algn="l" defTabSz="932742" rtl="0" eaLnBrk="1" fontAlgn="auto" latinLnBrk="0" hangingPunct="1">
              <a:lnSpc>
                <a:spcPct val="90000"/>
              </a:lnSpc>
              <a:spcBef>
                <a:spcPts val="0"/>
              </a:spcBef>
              <a:spcAft>
                <a:spcPts val="340"/>
              </a:spcAft>
              <a:buClrTx/>
              <a:buSzTx/>
              <a:buFontTx/>
              <a:buNone/>
              <a:tabLst/>
              <a:defRPr/>
            </a:pPr>
            <a:endParaRPr lang="en-GB" b="0" dirty="0"/>
          </a:p>
          <a:p>
            <a:pPr marL="0" marR="0" indent="0" algn="l" defTabSz="932742" rtl="0" eaLnBrk="1" fontAlgn="auto" latinLnBrk="0" hangingPunct="1">
              <a:lnSpc>
                <a:spcPct val="90000"/>
              </a:lnSpc>
              <a:spcBef>
                <a:spcPts val="0"/>
              </a:spcBef>
              <a:spcAft>
                <a:spcPts val="340"/>
              </a:spcAft>
              <a:buClrTx/>
              <a:buSzTx/>
              <a:buFontTx/>
              <a:buNone/>
              <a:tabLst/>
              <a:defRPr/>
            </a:pPr>
            <a:r>
              <a:rPr lang="en-GB" b="0" dirty="0"/>
              <a:t>Reference:</a:t>
            </a:r>
          </a:p>
          <a:p>
            <a:pPr marL="0" marR="0" indent="0" algn="l" defTabSz="932742" rtl="0" eaLnBrk="1" fontAlgn="auto" latinLnBrk="0" hangingPunct="1">
              <a:lnSpc>
                <a:spcPct val="90000"/>
              </a:lnSpc>
              <a:spcBef>
                <a:spcPts val="0"/>
              </a:spcBef>
              <a:spcAft>
                <a:spcPts val="340"/>
              </a:spcAft>
              <a:buClrTx/>
              <a:buSzTx/>
              <a:buFontTx/>
              <a:buNone/>
              <a:tabLst/>
              <a:defRPr/>
            </a:pPr>
            <a:endParaRPr lang="en-GB" b="0" dirty="0"/>
          </a:p>
          <a:p>
            <a:pPr marL="0" marR="0" indent="0" algn="l" defTabSz="932742" rtl="0" eaLnBrk="1" fontAlgn="auto" latinLnBrk="0" hangingPunct="1">
              <a:lnSpc>
                <a:spcPct val="90000"/>
              </a:lnSpc>
              <a:spcBef>
                <a:spcPts val="0"/>
              </a:spcBef>
              <a:spcAft>
                <a:spcPts val="340"/>
              </a:spcAft>
              <a:buClrTx/>
              <a:buSzTx/>
              <a:buFontTx/>
              <a:buNone/>
              <a:tabLst/>
              <a:defRPr/>
            </a:pPr>
            <a:r>
              <a:rPr lang="en-US" b="0" dirty="0"/>
              <a:t>https://azure.microsoft.com/en-gb/services/cognitive-services/directory/</a:t>
            </a:r>
          </a:p>
          <a:p>
            <a:pPr marL="0" marR="0" indent="0" algn="l" defTabSz="932742" rtl="0" eaLnBrk="1" fontAlgn="auto" latinLnBrk="0" hangingPunct="1">
              <a:lnSpc>
                <a:spcPct val="90000"/>
              </a:lnSpc>
              <a:spcBef>
                <a:spcPts val="0"/>
              </a:spcBef>
              <a:spcAft>
                <a:spcPts val="340"/>
              </a:spcAft>
              <a:buClrTx/>
              <a:buSzTx/>
              <a:buFontTx/>
              <a:buNone/>
              <a:tabLst/>
              <a:defRPr/>
            </a:pPr>
            <a:endParaRPr lang="en-US" b="0" dirty="0"/>
          </a:p>
          <a:p>
            <a:pPr marL="0" marR="0" indent="0" algn="l" defTabSz="932742" rtl="0" eaLnBrk="1" fontAlgn="auto" latinLnBrk="0" hangingPunct="1">
              <a:lnSpc>
                <a:spcPct val="90000"/>
              </a:lnSpc>
              <a:spcBef>
                <a:spcPts val="0"/>
              </a:spcBef>
              <a:spcAft>
                <a:spcPts val="340"/>
              </a:spcAft>
              <a:buClrTx/>
              <a:buSzTx/>
              <a:buFontTx/>
              <a:buNone/>
              <a:tabLst/>
              <a:defRPr/>
            </a:pPr>
            <a:endParaRPr lang="en-US" b="0" dirty="0"/>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63671986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0" dirty="0"/>
              <a:t>Use AI to add intelligence to your applications with:</a:t>
            </a:r>
          </a:p>
          <a:p>
            <a:endParaRPr lang="en-GB" dirty="0"/>
          </a:p>
          <a:p>
            <a:r>
              <a:rPr lang="en-GB" b="1" dirty="0">
                <a:hlinkClick r:id="rId3"/>
              </a:rPr>
              <a:t>Vision</a:t>
            </a:r>
            <a:r>
              <a:rPr lang="en-GB" b="1" dirty="0"/>
              <a:t> </a:t>
            </a:r>
          </a:p>
          <a:p>
            <a:r>
              <a:rPr lang="en-GB" dirty="0"/>
              <a:t>Image-processing algorithms to smartly identify, caption and moderate your pictures.</a:t>
            </a:r>
          </a:p>
          <a:p>
            <a:endParaRPr lang="en-GB" dirty="0"/>
          </a:p>
          <a:p>
            <a:r>
              <a:rPr lang="en-GB" b="1" dirty="0">
                <a:hlinkClick r:id="rId4"/>
              </a:rPr>
              <a:t>Speech</a:t>
            </a:r>
            <a:r>
              <a:rPr lang="en-GB" b="1" dirty="0"/>
              <a:t> </a:t>
            </a:r>
          </a:p>
          <a:p>
            <a:r>
              <a:rPr lang="en-GB" dirty="0"/>
              <a:t>Convert spoken audio into text, use voice for verification, or add speaker recognition to your app.</a:t>
            </a:r>
          </a:p>
          <a:p>
            <a:endParaRPr lang="en-GB" dirty="0"/>
          </a:p>
          <a:p>
            <a:r>
              <a:rPr lang="en-GB" b="1" dirty="0">
                <a:hlinkClick r:id="rId5"/>
              </a:rPr>
              <a:t>Knowledge</a:t>
            </a:r>
            <a:r>
              <a:rPr lang="en-GB" b="1" dirty="0"/>
              <a:t> </a:t>
            </a:r>
          </a:p>
          <a:p>
            <a:r>
              <a:rPr lang="en-GB" dirty="0"/>
              <a:t>Map complex information and data in order to solve tasks such as intelligent recommendations and semantic search.</a:t>
            </a:r>
          </a:p>
          <a:p>
            <a:endParaRPr lang="en-GB" dirty="0"/>
          </a:p>
          <a:p>
            <a:r>
              <a:rPr lang="en-GB" b="1" dirty="0">
                <a:hlinkClick r:id="rId6"/>
              </a:rPr>
              <a:t>Search</a:t>
            </a:r>
            <a:r>
              <a:rPr lang="en-GB" b="1" dirty="0"/>
              <a:t> </a:t>
            </a:r>
          </a:p>
          <a:p>
            <a:r>
              <a:rPr lang="en-GB" dirty="0"/>
              <a:t>Add Bing Search APIs to your apps and harness the ability to comb billions of webpages, images, videos, and news with a single API call.</a:t>
            </a:r>
          </a:p>
          <a:p>
            <a:endParaRPr lang="en-GB" dirty="0"/>
          </a:p>
          <a:p>
            <a:r>
              <a:rPr lang="en-GB" b="1" dirty="0">
                <a:hlinkClick r:id="rId7"/>
              </a:rPr>
              <a:t>Language</a:t>
            </a:r>
            <a:r>
              <a:rPr lang="en-GB" b="1" dirty="0"/>
              <a:t> </a:t>
            </a:r>
          </a:p>
          <a:p>
            <a:r>
              <a:rPr lang="en-GB" dirty="0"/>
              <a:t>Allow your apps to process natural language with pre-built scripts, evaluate sentiment and learn how to recognize what users want.</a:t>
            </a:r>
          </a:p>
          <a:p>
            <a:endParaRPr lang="en-GB" dirty="0"/>
          </a:p>
          <a:p>
            <a:r>
              <a:rPr lang="en-GB" dirty="0"/>
              <a:t>Reference:</a:t>
            </a:r>
          </a:p>
          <a:p>
            <a:endParaRPr lang="en-GB"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https://azure.microsoft.com/en-gb/services/cognitive-services/</a:t>
            </a:r>
          </a:p>
          <a:p>
            <a:endParaRPr lang="en-GB" dirty="0"/>
          </a:p>
          <a:p>
            <a:endParaRPr lang="en-US" b="0" dirty="0"/>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7041511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gnitive Services has a number of API’s around vision including:</a:t>
            </a:r>
          </a:p>
          <a:p>
            <a:endParaRPr lang="en-GB" dirty="0"/>
          </a:p>
          <a:p>
            <a:r>
              <a:rPr lang="en-GB" b="1" dirty="0">
                <a:effectLst/>
                <a:hlinkClick r:id="rId3"/>
              </a:rPr>
              <a:t>Custom Vision Service</a:t>
            </a:r>
            <a:r>
              <a:rPr lang="en-GB" b="1" dirty="0">
                <a:effectLst/>
              </a:rPr>
              <a:t> </a:t>
            </a:r>
          </a:p>
          <a:p>
            <a:r>
              <a:rPr lang="en-GB" b="1" dirty="0"/>
              <a:t>PREVIEW</a:t>
            </a:r>
            <a:r>
              <a:rPr lang="en-GB" dirty="0"/>
              <a:t> Easily customise your own state-of-the-art computer vision models for your unique use case</a:t>
            </a:r>
          </a:p>
          <a:p>
            <a:r>
              <a:rPr lang="en-GB" dirty="0">
                <a:hlinkClick r:id="rId4"/>
              </a:rPr>
              <a:t>Try Custom Vision Service</a:t>
            </a:r>
            <a:endParaRPr lang="en-GB" dirty="0"/>
          </a:p>
          <a:p>
            <a:endParaRPr lang="en-GB" b="1" dirty="0">
              <a:effectLst/>
              <a:hlinkClick r:id="rId5"/>
            </a:endParaRPr>
          </a:p>
          <a:p>
            <a:r>
              <a:rPr lang="en-GB" b="1" dirty="0">
                <a:effectLst/>
                <a:hlinkClick r:id="rId5"/>
              </a:rPr>
              <a:t>Computer Vision API</a:t>
            </a:r>
            <a:r>
              <a:rPr lang="en-GB" b="1" dirty="0">
                <a:effectLst/>
              </a:rPr>
              <a:t> </a:t>
            </a:r>
          </a:p>
          <a:p>
            <a:r>
              <a:rPr lang="en-GB" dirty="0" err="1"/>
              <a:t>Distill</a:t>
            </a:r>
            <a:r>
              <a:rPr lang="en-GB" dirty="0"/>
              <a:t> actionable information from images</a:t>
            </a:r>
          </a:p>
          <a:p>
            <a:r>
              <a:rPr lang="en-GB" dirty="0">
                <a:hlinkClick r:id="rId6"/>
              </a:rPr>
              <a:t>Try Computer Vision API</a:t>
            </a:r>
            <a:r>
              <a:rPr lang="en-GB" dirty="0"/>
              <a:t> | </a:t>
            </a:r>
            <a:r>
              <a:rPr lang="en-GB" dirty="0">
                <a:hlinkClick r:id="rId7"/>
              </a:rPr>
              <a:t>Use with an Azure subscription</a:t>
            </a:r>
            <a:endParaRPr lang="en-GB" dirty="0"/>
          </a:p>
          <a:p>
            <a:endParaRPr lang="en-GB" dirty="0"/>
          </a:p>
          <a:p>
            <a:r>
              <a:rPr lang="en-GB" b="1" dirty="0">
                <a:effectLst/>
                <a:hlinkClick r:id="rId8"/>
              </a:rPr>
              <a:t>Face API</a:t>
            </a:r>
            <a:r>
              <a:rPr lang="en-GB" b="1" dirty="0">
                <a:effectLst/>
              </a:rPr>
              <a:t> </a:t>
            </a:r>
          </a:p>
          <a:p>
            <a:r>
              <a:rPr lang="en-GB" dirty="0"/>
              <a:t>Detect, identify, analyse, organise and tag faces in photos</a:t>
            </a:r>
          </a:p>
          <a:p>
            <a:r>
              <a:rPr lang="en-GB" dirty="0">
                <a:hlinkClick r:id="rId9"/>
              </a:rPr>
              <a:t>Try Face API</a:t>
            </a:r>
            <a:r>
              <a:rPr lang="en-GB" dirty="0"/>
              <a:t> | </a:t>
            </a:r>
            <a:r>
              <a:rPr lang="en-GB" dirty="0">
                <a:hlinkClick r:id="rId7"/>
              </a:rPr>
              <a:t>Use with an Azure subscription</a:t>
            </a:r>
            <a:endParaRPr lang="en-GB" dirty="0"/>
          </a:p>
          <a:p>
            <a:endParaRPr lang="en-GB" dirty="0"/>
          </a:p>
          <a:p>
            <a:r>
              <a:rPr lang="en-GB" b="1" dirty="0">
                <a:effectLst/>
                <a:hlinkClick r:id="rId10"/>
              </a:rPr>
              <a:t>Content moderator</a:t>
            </a:r>
            <a:r>
              <a:rPr lang="en-GB" b="1" dirty="0">
                <a:effectLst/>
              </a:rPr>
              <a:t> </a:t>
            </a:r>
          </a:p>
          <a:p>
            <a:r>
              <a:rPr lang="en-GB" dirty="0"/>
              <a:t>Automated image, text and video moderation</a:t>
            </a:r>
          </a:p>
          <a:p>
            <a:r>
              <a:rPr lang="en-GB" dirty="0">
                <a:hlinkClick r:id="rId11"/>
              </a:rPr>
              <a:t>Use with an Azure subscription</a:t>
            </a:r>
            <a:endParaRPr lang="en-GB" dirty="0"/>
          </a:p>
          <a:p>
            <a:endParaRPr lang="en-GB" dirty="0"/>
          </a:p>
          <a:p>
            <a:r>
              <a:rPr lang="en-GB" b="1" dirty="0">
                <a:effectLst/>
                <a:hlinkClick r:id="rId12"/>
              </a:rPr>
              <a:t>Emotion API</a:t>
            </a:r>
            <a:r>
              <a:rPr lang="en-GB" b="1" dirty="0">
                <a:effectLst/>
              </a:rPr>
              <a:t> </a:t>
            </a:r>
          </a:p>
          <a:p>
            <a:r>
              <a:rPr lang="en-GB" b="1" dirty="0"/>
              <a:t>PREVIEW</a:t>
            </a:r>
            <a:r>
              <a:rPr lang="en-GB" dirty="0"/>
              <a:t> Personalise user experiences with emotion recognition</a:t>
            </a:r>
          </a:p>
          <a:p>
            <a:r>
              <a:rPr lang="en-GB" dirty="0">
                <a:hlinkClick r:id="rId13"/>
              </a:rPr>
              <a:t>Try Emotion API</a:t>
            </a:r>
            <a:r>
              <a:rPr lang="en-GB" dirty="0"/>
              <a:t> | </a:t>
            </a:r>
            <a:r>
              <a:rPr lang="en-GB" dirty="0">
                <a:hlinkClick r:id="rId7"/>
              </a:rPr>
              <a:t>Use with an Azure subscription</a:t>
            </a:r>
            <a:endParaRPr lang="en-GB" dirty="0"/>
          </a:p>
          <a:p>
            <a:endParaRPr lang="en-GB" dirty="0"/>
          </a:p>
          <a:p>
            <a:r>
              <a:rPr lang="en-GB" b="1" dirty="0">
                <a:effectLst/>
                <a:hlinkClick r:id="rId14"/>
              </a:rPr>
              <a:t>Video API</a:t>
            </a:r>
            <a:r>
              <a:rPr lang="en-GB" b="1" dirty="0">
                <a:effectLst/>
              </a:rPr>
              <a:t> </a:t>
            </a:r>
          </a:p>
          <a:p>
            <a:r>
              <a:rPr lang="en-GB" b="1" dirty="0"/>
              <a:t>PREVIEW</a:t>
            </a:r>
            <a:r>
              <a:rPr lang="en-GB" dirty="0"/>
              <a:t> Intelligent video processing</a:t>
            </a:r>
          </a:p>
          <a:p>
            <a:r>
              <a:rPr lang="en-GB" dirty="0">
                <a:hlinkClick r:id="rId7"/>
              </a:rPr>
              <a:t>Use with an Azure subscription</a:t>
            </a:r>
            <a:endParaRPr lang="en-GB" dirty="0"/>
          </a:p>
          <a:p>
            <a:endParaRPr lang="en-GB" dirty="0"/>
          </a:p>
          <a:p>
            <a:r>
              <a:rPr lang="en-GB" b="1" dirty="0">
                <a:effectLst/>
                <a:hlinkClick r:id="rId15"/>
              </a:rPr>
              <a:t>Video Indexer</a:t>
            </a:r>
            <a:r>
              <a:rPr lang="en-GB" b="1" dirty="0">
                <a:effectLst/>
              </a:rPr>
              <a:t> </a:t>
            </a:r>
          </a:p>
          <a:p>
            <a:r>
              <a:rPr lang="en-GB" b="1" dirty="0"/>
              <a:t>PREVIEW</a:t>
            </a:r>
            <a:r>
              <a:rPr lang="en-GB" dirty="0"/>
              <a:t> Unlock video insights</a:t>
            </a:r>
          </a:p>
          <a:p>
            <a:r>
              <a:rPr lang="en-GB" dirty="0">
                <a:hlinkClick r:id="rId16"/>
              </a:rPr>
              <a:t>Try Video Indexer</a:t>
            </a:r>
            <a:endParaRPr lang="en-GB" dirty="0"/>
          </a:p>
          <a:p>
            <a:endParaRPr lang="en-GB" dirty="0"/>
          </a:p>
          <a:p>
            <a:r>
              <a:rPr lang="en-GB" dirty="0"/>
              <a:t>Reference:</a:t>
            </a:r>
          </a:p>
          <a:p>
            <a:endParaRPr lang="en-GB" dirty="0"/>
          </a:p>
          <a:p>
            <a:r>
              <a:rPr lang="en-GB" dirty="0"/>
              <a:t>https://azure.microsoft.com/en-gb/services/cognitive-services/directory/vision/</a:t>
            </a:r>
          </a:p>
          <a:p>
            <a:endParaRPr lang="en-GB" dirty="0"/>
          </a:p>
          <a:p>
            <a:endParaRPr lang="en-GB" dirty="0"/>
          </a:p>
          <a:p>
            <a:endParaRPr lang="en-US" dirty="0"/>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48697269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is section of the course will cover:</a:t>
            </a:r>
          </a:p>
          <a:p>
            <a:endParaRPr lang="en-GB" dirty="0"/>
          </a:p>
          <a:p>
            <a:pPr marL="181240" indent="-181240">
              <a:buFont typeface="Arial" panose="020B0604020202020204" pitchFamily="34" charset="0"/>
              <a:buChar char="•"/>
            </a:pPr>
            <a:r>
              <a:rPr lang="en-GB" dirty="0"/>
              <a:t>What is Custom Vision</a:t>
            </a:r>
          </a:p>
          <a:p>
            <a:pPr marL="181240" indent="-181240">
              <a:buFont typeface="Arial" panose="020B0604020202020204" pitchFamily="34" charset="0"/>
              <a:buChar char="•"/>
            </a:pPr>
            <a:r>
              <a:rPr lang="en-GB" dirty="0"/>
              <a:t>Custom Vision Process</a:t>
            </a:r>
          </a:p>
          <a:p>
            <a:pPr marL="181240" indent="-181240">
              <a:buFont typeface="Arial" panose="020B0604020202020204" pitchFamily="34" charset="0"/>
              <a:buChar char="•"/>
            </a:pPr>
            <a:r>
              <a:rPr lang="en-GB" dirty="0"/>
              <a:t>Prerequisites for Custom Vision</a:t>
            </a:r>
          </a:p>
          <a:p>
            <a:pPr marL="181240" indent="-181240">
              <a:buFont typeface="Arial" panose="020B0604020202020204" pitchFamily="34" charset="0"/>
              <a:buChar char="•"/>
            </a:pPr>
            <a:r>
              <a:rPr lang="en-GB" dirty="0"/>
              <a:t>Using the Custom Vision website</a:t>
            </a:r>
          </a:p>
          <a:p>
            <a:pPr marL="181240" indent="-181240">
              <a:buFont typeface="Arial" panose="020B0604020202020204" pitchFamily="34" charset="0"/>
              <a:buChar char="•"/>
            </a:pPr>
            <a:endParaRPr lang="en-GB" dirty="0"/>
          </a:p>
          <a:p>
            <a:pPr marL="181240" indent="-181240">
              <a:buFont typeface="Arial" panose="020B0604020202020204" pitchFamily="34" charset="0"/>
              <a:buChar char="•"/>
            </a:pPr>
            <a:endParaRPr lang="en-GB" dirty="0"/>
          </a:p>
          <a:p>
            <a:endParaRPr lang="en-GB" dirty="0"/>
          </a:p>
        </p:txBody>
      </p:sp>
      <p:sp>
        <p:nvSpPr>
          <p:cNvPr id="5" name="Footer Placeholder 4"/>
          <p:cNvSpPr>
            <a:spLocks noGrp="1"/>
          </p:cNvSpPr>
          <p:nvPr>
            <p:ph type="ftr" sz="quarter" idx="11"/>
          </p:nvPr>
        </p:nvSpPr>
        <p:spPr/>
        <p:txBody>
          <a:bodyPr/>
          <a:lstStyle/>
          <a:p>
            <a:pPr defTabSz="966294"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7 Microsoft Corporation. All rights reserved. MICROSOFT MAKES NO WARRANTIES, EXPRESS, IMPLIED OR STATUTORY, AS TO THE INFORMATION IN THIS PRESENTATION.</a:t>
            </a:r>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259596734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74320" y="4217670"/>
            <a:ext cx="6297930" cy="4594860"/>
          </a:xfrm>
        </p:spPr>
        <p:txBody>
          <a:bodyPr/>
          <a:lstStyle/>
          <a:p>
            <a:pPr rtl="0"/>
            <a:r>
              <a:rPr lang="en-GB" sz="1000" b="1" dirty="0"/>
              <a:t>Custom Vision Service brings the power of machine learning to your apps.</a:t>
            </a:r>
          </a:p>
          <a:p>
            <a:pPr rtl="0"/>
            <a:endParaRPr lang="en-GB" sz="1000" b="1" dirty="0"/>
          </a:p>
          <a:p>
            <a:pPr rtl="0"/>
            <a:r>
              <a:rPr lang="en-GB" sz="1000" dirty="0"/>
              <a:t>Custom Vision Service is a tool for building custom image classifiers. It makes it easy and fast to build, deploy, and improve an image classifier. We provide a REST API and a web interface to upload your images and train.</a:t>
            </a:r>
          </a:p>
          <a:p>
            <a:pPr marL="0" indent="0">
              <a:buFont typeface="+mj-lt"/>
              <a:buNone/>
            </a:pPr>
            <a:endParaRPr lang="en-GB" sz="1000" b="0" dirty="0"/>
          </a:p>
          <a:p>
            <a:pPr marL="0" indent="0">
              <a:buFont typeface="+mj-lt"/>
              <a:buNone/>
            </a:pPr>
            <a:r>
              <a:rPr lang="en-GB" sz="1000" dirty="0"/>
              <a:t>Reference:</a:t>
            </a:r>
            <a:endParaRPr lang="en-GB" sz="1000" b="0" dirty="0"/>
          </a:p>
          <a:p>
            <a:pPr marL="0" indent="0">
              <a:buFont typeface="+mj-lt"/>
              <a:buNone/>
            </a:pPr>
            <a:endParaRPr lang="en-GB" sz="1000" b="0" dirty="0"/>
          </a:p>
          <a:p>
            <a:pPr marL="0" indent="0">
              <a:buFont typeface="+mj-lt"/>
              <a:buNone/>
            </a:pPr>
            <a:r>
              <a:rPr lang="en-US" sz="1000" b="0" dirty="0"/>
              <a:t>https://docs.microsoft.com/en-gb/azure/cognitive-services/custom-vision-service/home</a:t>
            </a: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4"/>
          </p:nvPr>
        </p:nvSpPr>
        <p:spPr>
          <a:xfrm>
            <a:off x="0" y="9121140"/>
            <a:ext cx="6315456" cy="373762"/>
          </a:xfrm>
        </p:spPr>
        <p:txBody>
          <a:bodyPr/>
          <a:lstStyle/>
          <a:p>
            <a:pPr defTabSz="966294"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7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321871794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emf"/><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18.emf"/><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 Id="rId5" Type="http://schemas.openxmlformats.org/officeDocument/2006/relationships/image" Target="../media/image4.png"/><Relationship Id="rId4" Type="http://schemas.openxmlformats.org/officeDocument/2006/relationships/image" Target="../media/image3.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31337368"/>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98554814"/>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50279244"/>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64237" y="3145040"/>
            <a:ext cx="3278492" cy="704445"/>
          </a:xfrm>
          <a:prstGeom prst="rect">
            <a:avLst/>
          </a:prstGeom>
        </p:spPr>
      </p:pic>
      <p:sp>
        <p:nvSpPr>
          <p:cNvPr id="4"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5" name="Picture 4"/>
          <p:cNvPicPr>
            <a:picLocks noChangeAspect="1"/>
          </p:cNvPicPr>
          <p:nvPr userDrawn="1"/>
        </p:nvPicPr>
        <p:blipFill>
          <a:blip r:embed="rId3" cstate="print">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39190107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Edit Master text styles</a:t>
            </a:r>
          </a:p>
        </p:txBody>
      </p:sp>
    </p:spTree>
    <p:extLst>
      <p:ext uri="{BB962C8B-B14F-4D97-AF65-F5344CB8AC3E}">
        <p14:creationId xmlns:p14="http://schemas.microsoft.com/office/powerpoint/2010/main" val="1065289915"/>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3_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170395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017074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436475" cy="742187"/>
          </a:xfrm>
          <a:prstGeom prst="rect">
            <a:avLst/>
          </a:prstGeom>
        </p:spPr>
        <p:txBody>
          <a:bodyPr/>
          <a:lstStyle>
            <a:lvl1pPr marL="0" indent="0">
              <a:buNone/>
              <a:defRPr/>
            </a:lvl1pPr>
          </a:lstStyle>
          <a:p>
            <a:endParaRPr lang="en-US" dirty="0"/>
          </a:p>
        </p:txBody>
      </p:sp>
      <p:sp>
        <p:nvSpPr>
          <p:cNvPr id="5" name="Title 4"/>
          <p:cNvSpPr>
            <a:spLocks noGrp="1"/>
          </p:cNvSpPr>
          <p:nvPr>
            <p:ph type="title"/>
          </p:nvPr>
        </p:nvSpPr>
        <p:spPr>
          <a:xfrm>
            <a:off x="274320" y="307608"/>
            <a:ext cx="5486718" cy="917575"/>
          </a:xfrm>
        </p:spPr>
        <p:txBody>
          <a:bodyPr/>
          <a:lstStyle>
            <a:lvl1pPr>
              <a:defRPr sz="5999">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02882370"/>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Title Slide Photo_Option">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635" y="-635"/>
            <a:ext cx="12435840" cy="6995160"/>
          </a:xfrm>
          <a:prstGeom prst="rect">
            <a:avLst/>
          </a:prstGeom>
        </p:spPr>
      </p:pic>
      <p:sp>
        <p:nvSpPr>
          <p:cNvPr id="2" name="Rectangle 1"/>
          <p:cNvSpPr/>
          <p:nvPr userDrawn="1"/>
        </p:nvSpPr>
        <p:spPr bwMode="auto">
          <a:xfrm>
            <a:off x="5757797" y="2145699"/>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761101" y="2145699"/>
            <a:ext cx="6400736" cy="1828800"/>
          </a:xfrm>
          <a:noFill/>
        </p:spPr>
        <p:txBody>
          <a:bodyPr lIns="146304" tIns="91440" rIns="146304" bIns="91440" anchor="t" anchorCtr="0"/>
          <a:lstStyle>
            <a:lvl1pPr>
              <a:defRPr sz="5400" spc="-100"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759449" y="3974479"/>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51477" y="6164262"/>
            <a:ext cx="1686560" cy="363259"/>
          </a:xfrm>
          <a:prstGeom prst="rect">
            <a:avLst/>
          </a:prstGeom>
        </p:spPr>
      </p:pic>
    </p:spTree>
    <p:extLst>
      <p:ext uri="{BB962C8B-B14F-4D97-AF65-F5344CB8AC3E}">
        <p14:creationId xmlns:p14="http://schemas.microsoft.com/office/powerpoint/2010/main" val="24648268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24388802"/>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821568"/>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189335521"/>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4237" y="3145040"/>
            <a:ext cx="3278492" cy="704445"/>
          </a:xfrm>
          <a:prstGeom prst="rect">
            <a:avLst/>
          </a:prstGeom>
        </p:spPr>
      </p:pic>
    </p:spTree>
    <p:extLst>
      <p:ext uri="{BB962C8B-B14F-4D97-AF65-F5344CB8AC3E}">
        <p14:creationId xmlns:p14="http://schemas.microsoft.com/office/powerpoint/2010/main" val="20779613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527791797"/>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sp>
        <p:nvSpPr>
          <p:cNvPr id="13" name="Rectangle 12"/>
          <p:cNvSpPr/>
          <p:nvPr/>
        </p:nvSpPr>
        <p:spPr bwMode="gray">
          <a:xfrm>
            <a:off x="153878" y="2098358"/>
            <a:ext cx="5597871" cy="3730413"/>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3878" y="2098358"/>
            <a:ext cx="5597871" cy="2798040"/>
          </a:xfrm>
          <a:noFill/>
        </p:spPr>
        <p:txBody>
          <a:bodyPr vert="horz" lIns="137160" tIns="137160" rIns="137160" bIns="137160" rtlCol="0" anchor="t" anchorCtr="0">
            <a:normAutofit/>
          </a:bodyPr>
          <a:lstStyle>
            <a:lvl1pPr>
              <a:defRPr lang="en-US" sz="4488" spc="-100" dirty="0">
                <a:solidFill>
                  <a:schemeClr val="bg1"/>
                </a:solidFill>
              </a:defRPr>
            </a:lvl1pPr>
          </a:lstStyle>
          <a:p>
            <a:pPr lvl="0"/>
            <a:r>
              <a:rPr lang="en-US" dirty="0"/>
              <a:t>Presentation title</a:t>
            </a:r>
          </a:p>
        </p:txBody>
      </p:sp>
      <p:sp>
        <p:nvSpPr>
          <p:cNvPr id="4" name="Text Placeholder 3"/>
          <p:cNvSpPr>
            <a:spLocks noGrp="1"/>
          </p:cNvSpPr>
          <p:nvPr>
            <p:ph type="body" sz="quarter" idx="10" hasCustomPrompt="1"/>
          </p:nvPr>
        </p:nvSpPr>
        <p:spPr>
          <a:xfrm>
            <a:off x="153878" y="4896168"/>
            <a:ext cx="5597871" cy="932603"/>
          </a:xfrm>
        </p:spPr>
        <p:txBody>
          <a:bodyPr lIns="137160" tIns="137160" rIns="137160" bIns="137160">
            <a:noAutofit/>
          </a:bodyPr>
          <a:lstStyle>
            <a:lvl1pPr marL="0" indent="0">
              <a:spcBef>
                <a:spcPts val="0"/>
              </a:spcBef>
              <a:buNone/>
              <a:defRPr sz="2040">
                <a:solidFill>
                  <a:schemeClr val="bg1"/>
                </a:solidFill>
              </a:defRPr>
            </a:lvl1pPr>
            <a:lvl2pPr marL="287279" indent="0">
              <a:buNone/>
              <a:defRPr sz="2040">
                <a:solidFill>
                  <a:schemeClr val="bg1"/>
                </a:solidFill>
              </a:defRPr>
            </a:lvl2pPr>
            <a:lvl3pPr marL="600187" indent="0">
              <a:buNone/>
              <a:defRPr sz="2040">
                <a:solidFill>
                  <a:schemeClr val="bg1"/>
                </a:solidFill>
              </a:defRPr>
            </a:lvl3pPr>
            <a:lvl4pPr marL="887466" indent="0">
              <a:buNone/>
              <a:defRPr sz="2040">
                <a:solidFill>
                  <a:schemeClr val="bg1"/>
                </a:solidFill>
              </a:defRPr>
            </a:lvl4pPr>
            <a:lvl5pPr marL="1127540" indent="0">
              <a:buNone/>
              <a:defRPr sz="2040">
                <a:solidFill>
                  <a:schemeClr val="bg1"/>
                </a:solidFill>
              </a:defRPr>
            </a:lvl5pPr>
          </a:lstStyle>
          <a:p>
            <a:pPr lvl="0"/>
            <a:r>
              <a:rPr lang="en-US" dirty="0"/>
              <a:t>Speaker Name</a:t>
            </a:r>
          </a:p>
        </p:txBody>
      </p:sp>
      <p:sp>
        <p:nvSpPr>
          <p:cNvPr id="10" name="TextBox 9"/>
          <p:cNvSpPr txBox="1"/>
          <p:nvPr/>
        </p:nvSpPr>
        <p:spPr>
          <a:xfrm>
            <a:off x="7772797" y="388585"/>
            <a:ext cx="3886398" cy="1942924"/>
          </a:xfrm>
          <a:prstGeom prst="rect">
            <a:avLst/>
          </a:prstGeom>
        </p:spPr>
        <p:txBody>
          <a:bodyPr vert="horz" wrap="square" lIns="110987" tIns="55494" rIns="110987" bIns="55494" rtlCol="0" anchor="ctr">
            <a:normAutofit/>
          </a:bodyPr>
          <a:lstStyle/>
          <a:p>
            <a:pPr defTabSz="1109758"/>
            <a:r>
              <a:rPr lang="en-US" sz="2040" dirty="0">
                <a:solidFill>
                  <a:srgbClr val="D2D2D2"/>
                </a:solidFill>
                <a:ea typeface="Segoe UI" pitchFamily="34" charset="0"/>
                <a:cs typeface="Segoe UI" pitchFamily="34" charset="0"/>
              </a:rPr>
              <a:t>Click View &gt; Slide Master to insert a photo as a background behind the colored boxes.</a:t>
            </a:r>
          </a:p>
        </p:txBody>
      </p:sp>
      <p:pic>
        <p:nvPicPr>
          <p:cNvPr id="12" name="Picture 1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80296" y="233151"/>
            <a:ext cx="1986146" cy="730297"/>
          </a:xfrm>
          <a:prstGeom prst="rect">
            <a:avLst/>
          </a:prstGeom>
        </p:spPr>
      </p:pic>
      <p:sp>
        <p:nvSpPr>
          <p:cNvPr id="15" name="TextBox 14"/>
          <p:cNvSpPr txBox="1"/>
          <p:nvPr/>
        </p:nvSpPr>
        <p:spPr>
          <a:xfrm>
            <a:off x="7772797" y="388585"/>
            <a:ext cx="3886398" cy="1942924"/>
          </a:xfrm>
          <a:prstGeom prst="rect">
            <a:avLst/>
          </a:prstGeom>
        </p:spPr>
        <p:txBody>
          <a:bodyPr vert="horz" wrap="square" lIns="110987" tIns="55494" rIns="110987" bIns="55494" rtlCol="0" anchor="ctr">
            <a:normAutofit/>
          </a:bodyPr>
          <a:lstStyle/>
          <a:p>
            <a:pPr defTabSz="1109758"/>
            <a:r>
              <a:rPr lang="en-US" sz="2040" dirty="0">
                <a:solidFill>
                  <a:srgbClr val="D2D2D2"/>
                </a:solidFill>
                <a:ea typeface="Segoe UI" pitchFamily="34" charset="0"/>
                <a:cs typeface="Segoe UI" pitchFamily="34" charset="0"/>
              </a:rPr>
              <a:t>Click View &gt; Slide Master to insert a photo as a background behind the colored boxes.</a:t>
            </a:r>
          </a:p>
        </p:txBody>
      </p:sp>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1435" y="202306"/>
            <a:ext cx="1986146" cy="730297"/>
          </a:xfrm>
          <a:prstGeom prst="rect">
            <a:avLst/>
          </a:prstGeom>
        </p:spPr>
      </p:pic>
      <p:sp>
        <p:nvSpPr>
          <p:cNvPr id="14" name="TextBox 13"/>
          <p:cNvSpPr txBox="1"/>
          <p:nvPr userDrawn="1"/>
        </p:nvSpPr>
        <p:spPr>
          <a:xfrm>
            <a:off x="7772797" y="388585"/>
            <a:ext cx="3886398" cy="1942924"/>
          </a:xfrm>
          <a:prstGeom prst="rect">
            <a:avLst/>
          </a:prstGeom>
        </p:spPr>
        <p:txBody>
          <a:bodyPr vert="horz" wrap="square" lIns="110987" tIns="55494" rIns="110987" bIns="55494" rtlCol="0" anchor="ctr">
            <a:normAutofit/>
          </a:bodyPr>
          <a:lstStyle/>
          <a:p>
            <a:pPr defTabSz="1109758"/>
            <a:r>
              <a:rPr lang="en-US" sz="2040" dirty="0">
                <a:solidFill>
                  <a:srgbClr val="D2D2D2"/>
                </a:solidFill>
                <a:ea typeface="Segoe UI" pitchFamily="34" charset="0"/>
                <a:cs typeface="Segoe UI" pitchFamily="34" charset="0"/>
              </a:rPr>
              <a:t>Click View &gt; Slide Master to insert a photo as a background behind the colored boxes.</a:t>
            </a:r>
          </a:p>
        </p:txBody>
      </p:sp>
      <p:pic>
        <p:nvPicPr>
          <p:cNvPr id="16" name="Picture 1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1435" y="202306"/>
            <a:ext cx="1986146" cy="730297"/>
          </a:xfrm>
          <a:prstGeom prst="rect">
            <a:avLst/>
          </a:prstGeom>
        </p:spPr>
      </p:pic>
    </p:spTree>
    <p:extLst>
      <p:ext uri="{BB962C8B-B14F-4D97-AF65-F5344CB8AC3E}">
        <p14:creationId xmlns:p14="http://schemas.microsoft.com/office/powerpoint/2010/main" val="3963641087"/>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tx2"/>
        </a:solidFill>
        <a:effectLst/>
      </p:bgPr>
    </p:bg>
    <p:spTree>
      <p:nvGrpSpPr>
        <p:cNvPr id="1" name=""/>
        <p:cNvGrpSpPr/>
        <p:nvPr/>
      </p:nvGrpSpPr>
      <p:grpSpPr>
        <a:xfrm>
          <a:off x="0" y="0"/>
          <a:ext cx="0" cy="0"/>
          <a:chOff x="0" y="0"/>
          <a:chExt cx="0" cy="0"/>
        </a:xfrm>
      </p:grpSpPr>
      <p:sp>
        <p:nvSpPr>
          <p:cNvPr id="13" name="Rectangle 12"/>
          <p:cNvSpPr/>
          <p:nvPr/>
        </p:nvSpPr>
        <p:spPr bwMode="gray">
          <a:xfrm>
            <a:off x="153878" y="2098358"/>
            <a:ext cx="5597871" cy="3730413"/>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3878" y="2098358"/>
            <a:ext cx="5597871" cy="2798040"/>
          </a:xfrm>
          <a:noFill/>
        </p:spPr>
        <p:txBody>
          <a:bodyPr vert="horz" lIns="137160" tIns="137160" rIns="137160" bIns="137160" rtlCol="0" anchor="t" anchorCtr="0">
            <a:normAutofit/>
          </a:bodyPr>
          <a:lstStyle>
            <a:lvl1pPr>
              <a:defRPr lang="en-US" sz="4488" spc="-100" dirty="0">
                <a:solidFill>
                  <a:schemeClr val="bg1"/>
                </a:solidFill>
              </a:defRPr>
            </a:lvl1pPr>
          </a:lstStyle>
          <a:p>
            <a:pPr lvl="0"/>
            <a:r>
              <a:rPr lang="en-US" dirty="0"/>
              <a:t>Presentation title</a:t>
            </a:r>
          </a:p>
        </p:txBody>
      </p:sp>
      <p:sp>
        <p:nvSpPr>
          <p:cNvPr id="4" name="Text Placeholder 3"/>
          <p:cNvSpPr>
            <a:spLocks noGrp="1"/>
          </p:cNvSpPr>
          <p:nvPr>
            <p:ph type="body" sz="quarter" idx="10" hasCustomPrompt="1"/>
          </p:nvPr>
        </p:nvSpPr>
        <p:spPr>
          <a:xfrm>
            <a:off x="153878" y="4896168"/>
            <a:ext cx="5597871" cy="932603"/>
          </a:xfrm>
        </p:spPr>
        <p:txBody>
          <a:bodyPr lIns="137160" tIns="137160" rIns="137160" bIns="137160">
            <a:noAutofit/>
          </a:bodyPr>
          <a:lstStyle>
            <a:lvl1pPr marL="0" indent="0">
              <a:spcBef>
                <a:spcPts val="0"/>
              </a:spcBef>
              <a:buNone/>
              <a:defRPr sz="2040">
                <a:solidFill>
                  <a:schemeClr val="bg1"/>
                </a:solidFill>
              </a:defRPr>
            </a:lvl1pPr>
            <a:lvl2pPr marL="287279" indent="0">
              <a:buNone/>
              <a:defRPr sz="2040">
                <a:solidFill>
                  <a:schemeClr val="bg1"/>
                </a:solidFill>
              </a:defRPr>
            </a:lvl2pPr>
            <a:lvl3pPr marL="600187" indent="0">
              <a:buNone/>
              <a:defRPr sz="2040">
                <a:solidFill>
                  <a:schemeClr val="bg1"/>
                </a:solidFill>
              </a:defRPr>
            </a:lvl3pPr>
            <a:lvl4pPr marL="887466" indent="0">
              <a:buNone/>
              <a:defRPr sz="2040">
                <a:solidFill>
                  <a:schemeClr val="bg1"/>
                </a:solidFill>
              </a:defRPr>
            </a:lvl4pPr>
            <a:lvl5pPr marL="1127540" indent="0">
              <a:buNone/>
              <a:defRPr sz="2040">
                <a:solidFill>
                  <a:schemeClr val="bg1"/>
                </a:solidFill>
              </a:defRPr>
            </a:lvl5pPr>
          </a:lstStyle>
          <a:p>
            <a:pPr lvl="0"/>
            <a:r>
              <a:rPr lang="en-US" dirty="0"/>
              <a:t>Speaker Name</a:t>
            </a:r>
          </a:p>
        </p:txBody>
      </p:sp>
      <p:pic>
        <p:nvPicPr>
          <p:cNvPr id="14" name="Picture 1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3784" y="204776"/>
            <a:ext cx="1986143" cy="730297"/>
          </a:xfrm>
          <a:prstGeom prst="rect">
            <a:avLst/>
          </a:prstGeom>
        </p:spPr>
      </p:pic>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3784" y="204776"/>
            <a:ext cx="1986143" cy="730297"/>
          </a:xfrm>
          <a:prstGeom prst="rect">
            <a:avLst/>
          </a:prstGeom>
        </p:spPr>
      </p:pic>
    </p:spTree>
    <p:extLst>
      <p:ext uri="{BB962C8B-B14F-4D97-AF65-F5344CB8AC3E}">
        <p14:creationId xmlns:p14="http://schemas.microsoft.com/office/powerpoint/2010/main" val="3942683834"/>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79" indent="0">
              <a:buNone/>
              <a:defRPr/>
            </a:lvl2pPr>
            <a:lvl3pPr marL="600187" indent="0">
              <a:buNone/>
              <a:defRPr/>
            </a:lvl3pPr>
            <a:lvl4pPr marL="887466" indent="0">
              <a:buNone/>
              <a:defRPr/>
            </a:lvl4pPr>
            <a:lvl5pPr marL="1127540" indent="0">
              <a:buNone/>
              <a:defRPr/>
            </a:lvl5pPr>
          </a:lstStyle>
          <a:p>
            <a:pPr lvl="0"/>
            <a:r>
              <a:rPr lang="en-US" dirty="0"/>
              <a:t>Click to add subtitle</a:t>
            </a:r>
          </a:p>
        </p:txBody>
      </p:sp>
      <p:sp>
        <p:nvSpPr>
          <p:cNvPr id="16" name="Text Placeholder 15"/>
          <p:cNvSpPr>
            <a:spLocks noGrp="1"/>
          </p:cNvSpPr>
          <p:nvPr>
            <p:ph type="body" sz="quarter" idx="14"/>
          </p:nvPr>
        </p:nvSpPr>
        <p:spPr>
          <a:xfrm>
            <a:off x="153878" y="1632056"/>
            <a:ext cx="12128721" cy="466816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a:xfrm>
            <a:off x="1943199" y="6606832"/>
            <a:ext cx="8550077" cy="387694"/>
          </a:xfrm>
        </p:spPr>
        <p:txBody>
          <a:bodyPr/>
          <a:lstStyle/>
          <a:p>
            <a:endParaRPr lang="en-US" dirty="0">
              <a:solidFill>
                <a:srgbClr val="505050"/>
              </a:solidFill>
            </a:endParaRPr>
          </a:p>
        </p:txBody>
      </p:sp>
    </p:spTree>
    <p:extLst>
      <p:ext uri="{BB962C8B-B14F-4D97-AF65-F5344CB8AC3E}">
        <p14:creationId xmlns:p14="http://schemas.microsoft.com/office/powerpoint/2010/main" val="1445253648"/>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79" indent="0">
              <a:buNone/>
              <a:defRPr/>
            </a:lvl2pPr>
            <a:lvl3pPr marL="600187" indent="0">
              <a:buNone/>
              <a:defRPr/>
            </a:lvl3pPr>
            <a:lvl4pPr marL="887466" indent="0">
              <a:buNone/>
              <a:defRPr/>
            </a:lvl4pPr>
            <a:lvl5pPr marL="1127540" indent="0">
              <a:buNone/>
              <a:defRPr/>
            </a:lvl5pPr>
          </a:lstStyle>
          <a:p>
            <a:pPr lvl="0"/>
            <a:r>
              <a:rPr lang="en-US" dirty="0"/>
              <a:t>Click to add subtitle</a:t>
            </a:r>
          </a:p>
        </p:txBody>
      </p:sp>
      <p:sp>
        <p:nvSpPr>
          <p:cNvPr id="3" name="Footer Placeholder 2"/>
          <p:cNvSpPr>
            <a:spLocks noGrp="1"/>
          </p:cNvSpPr>
          <p:nvPr>
            <p:ph type="ftr" sz="quarter" idx="14"/>
          </p:nvPr>
        </p:nvSpPr>
        <p:spPr/>
        <p:txBody>
          <a:bodyPr/>
          <a:lstStyle/>
          <a:p>
            <a:pPr defTabSz="1109758"/>
            <a:endParaRPr lang="en-US" dirty="0">
              <a:solidFill>
                <a:srgbClr val="505050"/>
              </a:solidFill>
            </a:endParaRPr>
          </a:p>
        </p:txBody>
      </p:sp>
      <p:sp>
        <p:nvSpPr>
          <p:cNvPr id="7" name="Slide Number Placeholder 6"/>
          <p:cNvSpPr>
            <a:spLocks noGrp="1"/>
          </p:cNvSpPr>
          <p:nvPr>
            <p:ph type="sldNum" sz="quarter" idx="15"/>
          </p:nvPr>
        </p:nvSpPr>
        <p:spPr/>
        <p:txBody>
          <a:bodyPr/>
          <a:lstStyle/>
          <a:p>
            <a:pPr defTabSz="1109758"/>
            <a:fld id="{FAADACFB-7C71-4E89-89D2-7BBA40B7BFA9}" type="slidenum">
              <a:rPr lang="en-US" smtClean="0">
                <a:solidFill>
                  <a:srgbClr val="505050"/>
                </a:solidFill>
              </a:rPr>
              <a:pPr defTabSz="1109758"/>
              <a:t>‹#›</a:t>
            </a:fld>
            <a:endParaRPr lang="en-US" dirty="0">
              <a:solidFill>
                <a:srgbClr val="505050"/>
              </a:solidFill>
            </a:endParaRPr>
          </a:p>
        </p:txBody>
      </p:sp>
    </p:spTree>
    <p:extLst>
      <p:ext uri="{BB962C8B-B14F-4D97-AF65-F5344CB8AC3E}">
        <p14:creationId xmlns:p14="http://schemas.microsoft.com/office/powerpoint/2010/main" val="670270912"/>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153878" y="1632056"/>
            <a:ext cx="12128721" cy="458530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7279" indent="0">
              <a:buNone/>
              <a:defRPr>
                <a:solidFill>
                  <a:schemeClr val="tx1"/>
                </a:solidFill>
                <a:latin typeface="Courier New" pitchFamily="49" charset="0"/>
                <a:cs typeface="Courier New" pitchFamily="49" charset="0"/>
              </a:defRPr>
            </a:lvl2pPr>
            <a:lvl3pPr marL="600187" indent="0">
              <a:buNone/>
              <a:defRPr>
                <a:solidFill>
                  <a:schemeClr val="tx1"/>
                </a:solidFill>
                <a:latin typeface="Courier New" pitchFamily="49" charset="0"/>
                <a:cs typeface="Courier New" pitchFamily="49" charset="0"/>
              </a:defRPr>
            </a:lvl3pPr>
            <a:lvl4pPr marL="887466" indent="0">
              <a:buNone/>
              <a:defRPr>
                <a:solidFill>
                  <a:schemeClr val="tx1"/>
                </a:solidFill>
                <a:latin typeface="Courier New" pitchFamily="49" charset="0"/>
                <a:cs typeface="Courier New" pitchFamily="49" charset="0"/>
              </a:defRPr>
            </a:lvl4pPr>
            <a:lvl5pPr marL="1127540"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p:cNvSpPr>
            <a:spLocks noGrp="1"/>
          </p:cNvSpPr>
          <p:nvPr>
            <p:ph type="body" sz="quarter" idx="12"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79" indent="0">
              <a:buNone/>
              <a:defRPr/>
            </a:lvl2pPr>
            <a:lvl3pPr marL="600187" indent="0">
              <a:buNone/>
              <a:defRPr/>
            </a:lvl3pPr>
            <a:lvl4pPr marL="887466" indent="0">
              <a:buNone/>
              <a:defRPr/>
            </a:lvl4pPr>
            <a:lvl5pPr marL="1127540" indent="0">
              <a:buNone/>
              <a:defRPr/>
            </a:lvl5pPr>
          </a:lstStyle>
          <a:p>
            <a:pPr lvl="0"/>
            <a:r>
              <a:rPr lang="en-US" dirty="0"/>
              <a:t>Click to add subtitle</a:t>
            </a:r>
          </a:p>
        </p:txBody>
      </p:sp>
      <p:sp>
        <p:nvSpPr>
          <p:cNvPr id="6" name="Footer Placeholder 5"/>
          <p:cNvSpPr>
            <a:spLocks noGrp="1"/>
          </p:cNvSpPr>
          <p:nvPr>
            <p:ph type="ftr" sz="quarter" idx="16"/>
          </p:nvPr>
        </p:nvSpPr>
        <p:spPr/>
        <p:txBody>
          <a:bodyPr/>
          <a:lstStyle/>
          <a:p>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1219399346"/>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2909614520"/>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6" name="Rectangle 5"/>
          <p:cNvSpPr/>
          <p:nvPr/>
        </p:nvSpPr>
        <p:spPr bwMode="auto">
          <a:xfrm>
            <a:off x="153877" y="1165754"/>
            <a:ext cx="10262764" cy="27887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3877" y="1165754"/>
            <a:ext cx="10262764" cy="27887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3879" y="1165756"/>
            <a:ext cx="10262763" cy="2788709"/>
          </a:xfrm>
          <a:noFill/>
        </p:spPr>
        <p:txBody>
          <a:bodyPr lIns="137160" tIns="137160" rIns="137160" bIns="137160" anchor="t" anchorCtr="0"/>
          <a:lstStyle>
            <a:lvl1pPr>
              <a:defRPr sz="7241" spc="-100"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153877" y="3954464"/>
            <a:ext cx="10262765" cy="1874307"/>
          </a:xfrm>
          <a:noFill/>
        </p:spPr>
        <p:txBody>
          <a:bodyPr lIns="137160" tIns="137160" rIns="137160" bIns="137160">
            <a:noAutofit/>
          </a:bodyPr>
          <a:lstStyle>
            <a:lvl1pPr marL="0" indent="0">
              <a:spcBef>
                <a:spcPts val="0"/>
              </a:spcBef>
              <a:buNone/>
              <a:defRPr sz="2856"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3877" y="1165754"/>
            <a:ext cx="10262764" cy="27887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53978352"/>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6" name="Rectangle 5"/>
          <p:cNvSpPr/>
          <p:nvPr/>
        </p:nvSpPr>
        <p:spPr bwMode="auto">
          <a:xfrm>
            <a:off x="153879" y="1165754"/>
            <a:ext cx="10262763" cy="279781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3879" y="1165754"/>
            <a:ext cx="10262763" cy="279781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3879" y="1165755"/>
            <a:ext cx="10262763" cy="2788709"/>
          </a:xfrm>
          <a:noFill/>
        </p:spPr>
        <p:txBody>
          <a:bodyPr lIns="137160" tIns="137160" rIns="137160" bIns="137160" anchor="t" anchorCtr="0"/>
          <a:lstStyle>
            <a:lvl1pPr>
              <a:defRPr sz="7241" spc="-100" baseline="0">
                <a:gradFill>
                  <a:gsLst>
                    <a:gs pos="5833">
                      <a:srgbClr val="FFFFFF"/>
                    </a:gs>
                    <a:gs pos="18000">
                      <a:srgbClr val="FFFFFF"/>
                    </a:gs>
                  </a:gsLst>
                  <a:lin ang="5400000" scaled="0"/>
                </a:gradFill>
              </a:defRPr>
            </a:lvl1pPr>
          </a:lstStyle>
          <a:p>
            <a:r>
              <a:rPr lang="en-US" dirty="0"/>
              <a:t>Video title</a:t>
            </a:r>
          </a:p>
        </p:txBody>
      </p:sp>
      <p:sp>
        <p:nvSpPr>
          <p:cNvPr id="5" name="Text Placeholder 4"/>
          <p:cNvSpPr>
            <a:spLocks noGrp="1"/>
          </p:cNvSpPr>
          <p:nvPr>
            <p:ph type="body" sz="quarter" idx="12" hasCustomPrompt="1"/>
          </p:nvPr>
        </p:nvSpPr>
        <p:spPr>
          <a:xfrm>
            <a:off x="153877" y="3963564"/>
            <a:ext cx="10262764" cy="1865207"/>
          </a:xfrm>
          <a:noFill/>
        </p:spPr>
        <p:txBody>
          <a:bodyPr lIns="137160" tIns="137160" rIns="137160" bIns="137160">
            <a:noAutofit/>
          </a:bodyPr>
          <a:lstStyle>
            <a:lvl1pPr marL="0" indent="0">
              <a:spcBef>
                <a:spcPts val="0"/>
              </a:spcBef>
              <a:buNone/>
              <a:defRPr sz="2856"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3879" y="1165754"/>
            <a:ext cx="10262763" cy="279781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75447769"/>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56723"/>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3878" y="2098359"/>
            <a:ext cx="12128721" cy="1859279"/>
          </a:xfrm>
          <a:noFill/>
        </p:spPr>
        <p:txBody>
          <a:bodyPr lIns="137160" tIns="137160" rIns="137160" bIns="137160" anchor="t" anchorCtr="0"/>
          <a:lstStyle>
            <a:lvl1pPr>
              <a:defRPr sz="8771" spc="-100"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3877" y="3963564"/>
            <a:ext cx="6530850" cy="2642376"/>
          </a:xfrm>
          <a:prstGeom prst="rect">
            <a:avLst/>
          </a:prstGeom>
        </p:spPr>
        <p:txBody>
          <a:bodyPr lIns="137160" tIns="137160" rIns="137160" bIns="137160">
            <a:noAutofit/>
          </a:bodyPr>
          <a:lstStyle>
            <a:lvl1pPr marL="194218" indent="-194218">
              <a:lnSpc>
                <a:spcPct val="80000"/>
              </a:lnSpc>
              <a:buNone/>
              <a:defRPr lang="en-US" sz="2040" kern="1200" dirty="0">
                <a:solidFill>
                  <a:srgbClr val="FFFFFF"/>
                </a:solidFill>
                <a:latin typeface="Segoe UI" pitchFamily="34" charset="0"/>
                <a:ea typeface="Segoe UI" pitchFamily="34" charset="0"/>
                <a:cs typeface="Segoe UI" pitchFamily="34" charset="0"/>
              </a:defRPr>
            </a:lvl1pPr>
          </a:lstStyle>
          <a:p>
            <a:pPr marL="0" lvl="0" indent="0" algn="l" defTabSz="1109758"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629015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3878" y="2098359"/>
            <a:ext cx="12128721" cy="1859279"/>
          </a:xfrm>
          <a:noFill/>
        </p:spPr>
        <p:txBody>
          <a:bodyPr lIns="137160" tIns="137160" rIns="137160" bIns="137160" anchor="t" anchorCtr="0"/>
          <a:lstStyle>
            <a:lvl1pPr>
              <a:defRPr sz="8771" spc="-100"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3877" y="3963564"/>
            <a:ext cx="6530850" cy="2642376"/>
          </a:xfrm>
          <a:prstGeom prst="rect">
            <a:avLst/>
          </a:prstGeom>
        </p:spPr>
        <p:txBody>
          <a:bodyPr lIns="137160" tIns="137160" rIns="137160" bIns="137160">
            <a:noAutofit/>
          </a:bodyPr>
          <a:lstStyle>
            <a:lvl1pPr marL="194218" indent="-194218">
              <a:lnSpc>
                <a:spcPct val="80000"/>
              </a:lnSpc>
              <a:buNone/>
              <a:defRPr lang="en-US" sz="2040" kern="1200" dirty="0">
                <a:solidFill>
                  <a:schemeClr val="tx1"/>
                </a:solidFill>
                <a:latin typeface="Segoe UI" pitchFamily="34" charset="0"/>
                <a:ea typeface="Segoe UI" pitchFamily="34" charset="0"/>
                <a:cs typeface="Segoe UI" pitchFamily="34" charset="0"/>
              </a:defRPr>
            </a:lvl1pPr>
          </a:lstStyle>
          <a:p>
            <a:pPr marL="0" lvl="0" indent="0" algn="l" defTabSz="1109758"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6301472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3878" y="2098359"/>
            <a:ext cx="12128721" cy="1859279"/>
          </a:xfrm>
          <a:noFill/>
        </p:spPr>
        <p:txBody>
          <a:bodyPr lIns="137160" tIns="137160" rIns="137160" bIns="137160" anchor="t" anchorCtr="0"/>
          <a:lstStyle>
            <a:lvl1pPr>
              <a:defRPr sz="8771" spc="-100"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3877" y="3963564"/>
            <a:ext cx="6530850" cy="2642376"/>
          </a:xfrm>
          <a:prstGeom prst="rect">
            <a:avLst/>
          </a:prstGeom>
        </p:spPr>
        <p:txBody>
          <a:bodyPr lIns="137160" tIns="137160" rIns="137160" bIns="137160">
            <a:noAutofit/>
          </a:bodyPr>
          <a:lstStyle>
            <a:lvl1pPr marL="194218" indent="-194218">
              <a:lnSpc>
                <a:spcPct val="80000"/>
              </a:lnSpc>
              <a:buNone/>
              <a:defRPr lang="en-US" sz="2040" kern="1200" dirty="0">
                <a:solidFill>
                  <a:srgbClr val="000000"/>
                </a:solidFill>
                <a:latin typeface="Segoe UI" pitchFamily="34" charset="0"/>
                <a:ea typeface="Segoe UI" pitchFamily="34" charset="0"/>
                <a:cs typeface="Segoe UI" pitchFamily="34" charset="0"/>
              </a:defRPr>
            </a:lvl1pPr>
          </a:lstStyle>
          <a:p>
            <a:pPr marL="0" lvl="0" indent="0" algn="l" defTabSz="1109758"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7067870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sp>
        <p:nvSpPr>
          <p:cNvPr id="4" name="Rectangle 3"/>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sp>
        <p:nvSpPr>
          <p:cNvPr id="8" name="Rectangle 7"/>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6" name="Rectangle 5"/>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9" name="Rectangle 8"/>
          <p:cNvSpPr/>
          <p:nvPr userDrawn="1"/>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68080" y="2959722"/>
            <a:ext cx="2902056" cy="1067073"/>
          </a:xfrm>
          <a:prstGeom prst="rect">
            <a:avLst/>
          </a:prstGeom>
        </p:spPr>
      </p:pic>
    </p:spTree>
    <p:extLst>
      <p:ext uri="{BB962C8B-B14F-4D97-AF65-F5344CB8AC3E}">
        <p14:creationId xmlns:p14="http://schemas.microsoft.com/office/powerpoint/2010/main" val="3375468869"/>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3" name="Slide Number Placeholder 2"/>
          <p:cNvSpPr>
            <a:spLocks noGrp="1"/>
          </p:cNvSpPr>
          <p:nvPr>
            <p:ph type="sldNum" sz="quarter" idx="14"/>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928220611"/>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3_Title Slide Photo_Option">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73" y="-1"/>
            <a:ext cx="15436664" cy="8684366"/>
          </a:xfrm>
          <a:prstGeom prst="rect">
            <a:avLst/>
          </a:prstGeom>
        </p:spPr>
      </p:pic>
      <p:sp>
        <p:nvSpPr>
          <p:cNvPr id="2" name="Rectangle 1"/>
          <p:cNvSpPr/>
          <p:nvPr userDrawn="1"/>
        </p:nvSpPr>
        <p:spPr bwMode="auto">
          <a:xfrm>
            <a:off x="271398" y="2125663"/>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25663"/>
            <a:ext cx="6400736" cy="1828800"/>
          </a:xfrm>
          <a:noFill/>
        </p:spPr>
        <p:txBody>
          <a:bodyPr lIns="146304" tIns="91440" rIns="146304" bIns="91440" anchor="t" anchorCtr="0"/>
          <a:lstStyle>
            <a:lvl1pPr>
              <a:defRPr sz="5400" spc="-100"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43"/>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a:t>Speaker Name</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62597" y="6164262"/>
            <a:ext cx="1686560" cy="363259"/>
          </a:xfrm>
          <a:prstGeom prst="rect">
            <a:avLst/>
          </a:prstGeom>
        </p:spPr>
      </p:pic>
    </p:spTree>
    <p:extLst>
      <p:ext uri="{BB962C8B-B14F-4D97-AF65-F5344CB8AC3E}">
        <p14:creationId xmlns:p14="http://schemas.microsoft.com/office/powerpoint/2010/main" val="38802661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Closing logo slide_color">
    <p:bg>
      <p:bgPr>
        <a:solidFill>
          <a:srgbClr val="505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13326847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9230" y="6240963"/>
            <a:ext cx="1278510" cy="274137"/>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64013" y="490736"/>
            <a:ext cx="1436313" cy="306604"/>
          </a:xfrm>
          <a:prstGeom prst="rect">
            <a:avLst/>
          </a:prstGeom>
        </p:spPr>
      </p:pic>
      <p:sp>
        <p:nvSpPr>
          <p:cNvPr id="12" name="Freeform 11"/>
          <p:cNvSpPr>
            <a:spLocks noEditPoints="1"/>
          </p:cNvSpPr>
          <p:nvPr userDrawn="1"/>
        </p:nvSpPr>
        <p:spPr bwMode="black">
          <a:xfrm>
            <a:off x="2137568" y="2473325"/>
            <a:ext cx="8161338" cy="2047875"/>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00BCF2"/>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408915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lide - Microsoft">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9230" y="6240963"/>
            <a:ext cx="1278510" cy="274137"/>
          </a:xfrm>
          <a:prstGeom prst="rect">
            <a:avLst/>
          </a:prstGeom>
        </p:spPr>
      </p:pic>
      <p:sp>
        <p:nvSpPr>
          <p:cNvPr id="18" name="Title 1"/>
          <p:cNvSpPr>
            <a:spLocks noGrp="1"/>
          </p:cNvSpPr>
          <p:nvPr>
            <p:ph type="title" hasCustomPrompt="1"/>
          </p:nvPr>
        </p:nvSpPr>
        <p:spPr>
          <a:xfrm>
            <a:off x="274702" y="2125678"/>
            <a:ext cx="10058336" cy="1828786"/>
          </a:xfrm>
          <a:noFill/>
        </p:spPr>
        <p:txBody>
          <a:bodyPr lIns="146304" tIns="91440" rIns="146304" bIns="91440" anchor="t" anchorCtr="0"/>
          <a:lstStyle>
            <a:lvl1pPr>
              <a:defRPr sz="5400" spc="-100"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74701" y="3955786"/>
            <a:ext cx="100583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57200" y="490736"/>
            <a:ext cx="1449939" cy="306604"/>
          </a:xfrm>
          <a:prstGeom prst="rect">
            <a:avLst/>
          </a:prstGeom>
        </p:spPr>
      </p:pic>
      <p:sp>
        <p:nvSpPr>
          <p:cNvPr id="7" name="Text Placeholder 2"/>
          <p:cNvSpPr>
            <a:spLocks noGrp="1"/>
          </p:cNvSpPr>
          <p:nvPr>
            <p:ph type="body" sz="quarter" idx="13" hasCustomPrompt="1"/>
          </p:nvPr>
        </p:nvSpPr>
        <p:spPr>
          <a:xfrm>
            <a:off x="8504238" y="307621"/>
            <a:ext cx="3656013" cy="572464"/>
          </a:xfrm>
        </p:spPr>
        <p:txBody>
          <a:bodyPr lIns="182880" tIns="146304" rIns="182880" bIns="146304"/>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 Here</a:t>
            </a:r>
          </a:p>
        </p:txBody>
      </p:sp>
      <p:sp>
        <p:nvSpPr>
          <p:cNvPr id="8" name="TextBox 7"/>
          <p:cNvSpPr txBox="1"/>
          <p:nvPr userDrawn="1"/>
        </p:nvSpPr>
        <p:spPr>
          <a:xfrm>
            <a:off x="288989" y="6072577"/>
            <a:ext cx="1900200"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Build2016</a:t>
            </a:r>
          </a:p>
        </p:txBody>
      </p:sp>
    </p:spTree>
    <p:extLst>
      <p:ext uri="{BB962C8B-B14F-4D97-AF65-F5344CB8AC3E}">
        <p14:creationId xmlns:p14="http://schemas.microsoft.com/office/powerpoint/2010/main" val="33365344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lide - Build">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9230" y="6240963"/>
            <a:ext cx="1278510" cy="274137"/>
          </a:xfrm>
          <a:prstGeom prst="rect">
            <a:avLst/>
          </a:prstGeom>
        </p:spPr>
      </p:pic>
      <p:sp>
        <p:nvSpPr>
          <p:cNvPr id="18" name="Title 1"/>
          <p:cNvSpPr>
            <a:spLocks noGrp="1"/>
          </p:cNvSpPr>
          <p:nvPr>
            <p:ph type="title" hasCustomPrompt="1"/>
          </p:nvPr>
        </p:nvSpPr>
        <p:spPr>
          <a:xfrm>
            <a:off x="274702" y="2125678"/>
            <a:ext cx="10058336" cy="1828786"/>
          </a:xfrm>
          <a:noFill/>
        </p:spPr>
        <p:txBody>
          <a:bodyPr lIns="146304" tIns="91440" rIns="146304" bIns="91440" anchor="t" anchorCtr="0"/>
          <a:lstStyle>
            <a:lvl1pPr>
              <a:defRPr sz="5400" spc="-100"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74701" y="3955786"/>
            <a:ext cx="100583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7" name="Text Placeholder 2"/>
          <p:cNvSpPr>
            <a:spLocks noGrp="1"/>
          </p:cNvSpPr>
          <p:nvPr>
            <p:ph type="body" sz="quarter" idx="13" hasCustomPrompt="1"/>
          </p:nvPr>
        </p:nvSpPr>
        <p:spPr>
          <a:xfrm>
            <a:off x="8504238" y="307621"/>
            <a:ext cx="3656013" cy="572464"/>
          </a:xfrm>
        </p:spPr>
        <p:txBody>
          <a:bodyPr lIns="182880" tIns="146304" rIns="182880" bIns="146304"/>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 Here</a:t>
            </a:r>
          </a:p>
        </p:txBody>
      </p:sp>
      <p:sp>
        <p:nvSpPr>
          <p:cNvPr id="8" name="Freeform 7"/>
          <p:cNvSpPr>
            <a:spLocks noChangeAspect="1" noEditPoints="1"/>
          </p:cNvSpPr>
          <p:nvPr userDrawn="1"/>
        </p:nvSpPr>
        <p:spPr bwMode="black">
          <a:xfrm>
            <a:off x="457200" y="490736"/>
            <a:ext cx="1239006" cy="310896"/>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404040"/>
              </a:solidFill>
            </a:endParaRPr>
          </a:p>
        </p:txBody>
      </p:sp>
      <p:sp>
        <p:nvSpPr>
          <p:cNvPr id="9" name="TextBox 8"/>
          <p:cNvSpPr txBox="1"/>
          <p:nvPr userDrawn="1"/>
        </p:nvSpPr>
        <p:spPr>
          <a:xfrm>
            <a:off x="288989" y="6072577"/>
            <a:ext cx="1900200"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Build2016</a:t>
            </a:r>
          </a:p>
        </p:txBody>
      </p:sp>
    </p:spTree>
    <p:extLst>
      <p:ext uri="{BB962C8B-B14F-4D97-AF65-F5344CB8AC3E}">
        <p14:creationId xmlns:p14="http://schemas.microsoft.com/office/powerpoint/2010/main" val="6718906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74638" y="1212850"/>
            <a:ext cx="11887200" cy="2065181"/>
          </a:xfrm>
        </p:spPr>
        <p:txBody>
          <a:bodyPr/>
          <a:lstStyle>
            <a:lvl1pPr marL="0" indent="0">
              <a:buNone/>
              <a:defRPr>
                <a:gradFill>
                  <a:gsLst>
                    <a:gs pos="1250">
                      <a:schemeClr val="tx1"/>
                    </a:gs>
                    <a:gs pos="99000">
                      <a:schemeClr val="tx1"/>
                    </a:gs>
                  </a:gsLst>
                  <a:lin ang="5400000" scaled="0"/>
                </a:gradFill>
              </a:defRPr>
            </a:lvl1pPr>
            <a:lvl2pPr marL="0" indent="0">
              <a:buFontTx/>
              <a:buNone/>
              <a:defRPr sz="24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78830187"/>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90152245"/>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2849"/>
            <a:ext cx="5486399" cy="1982081"/>
          </a:xfrm>
        </p:spPr>
        <p:txBody>
          <a:bodyPr wrap="square">
            <a:spAutoFit/>
          </a:bodyPr>
          <a:lstStyle>
            <a:lvl1pPr marL="0" indent="0">
              <a:spcBef>
                <a:spcPts val="1224"/>
              </a:spcBef>
              <a:buClr>
                <a:schemeClr val="tx1"/>
              </a:buClr>
              <a:buFont typeface="Wingdings" pitchFamily="2" charset="2"/>
              <a:buNone/>
              <a:defRPr sz="3200"/>
            </a:lvl1pPr>
            <a:lvl2pPr marL="0" indent="0">
              <a:buNone/>
              <a:defRPr sz="24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82081"/>
          </a:xfrm>
        </p:spPr>
        <p:txBody>
          <a:bodyPr wrap="square">
            <a:spAutoFit/>
          </a:bodyPr>
          <a:lstStyle>
            <a:lvl1pPr marL="0" indent="0">
              <a:spcBef>
                <a:spcPts val="1224"/>
              </a:spcBef>
              <a:buClr>
                <a:schemeClr val="tx1"/>
              </a:buClr>
              <a:buFont typeface="Wingdings" pitchFamily="2" charset="2"/>
              <a:buNone/>
              <a:defRPr sz="3200"/>
            </a:lvl1pPr>
            <a:lvl2pPr marL="0" indent="0">
              <a:buNone/>
              <a:defRPr sz="24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01232454"/>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88770838"/>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689488476"/>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5" name="Title 4"/>
          <p:cNvSpPr>
            <a:spLocks noGrp="1"/>
          </p:cNvSpPr>
          <p:nvPr>
            <p:ph type="title"/>
          </p:nvPr>
        </p:nvSpPr>
        <p:spPr>
          <a:xfrm>
            <a:off x="1101436" y="2963862"/>
            <a:ext cx="10235966" cy="917575"/>
          </a:xfrm>
        </p:spPr>
        <p:txBody>
          <a:bodyPr anchor="ctr" anchorCtr="0"/>
          <a:lstStyle>
            <a:lvl1pPr algn="l">
              <a:defRPr>
                <a:gradFill>
                  <a:gsLst>
                    <a:gs pos="1250">
                      <a:schemeClr val="tx1"/>
                    </a:gs>
                    <a:gs pos="100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333951077"/>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9144000" cy="1181862"/>
          </a:xfrm>
          <a:noFill/>
        </p:spPr>
        <p:txBody>
          <a:bodyPr wrap="square" tIns="91440" bIns="91440" anchor="t" anchorCtr="0">
            <a:spAutoFit/>
          </a:bodyPr>
          <a:lstStyle>
            <a:lvl1pPr>
              <a:defRPr sz="7200" spc="-100" baseline="0">
                <a:gradFill>
                  <a:gsLst>
                    <a:gs pos="6195">
                      <a:schemeClr val="tx1"/>
                    </a:gs>
                    <a:gs pos="24779">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9143999" cy="738664"/>
          </a:xfrm>
          <a:noFill/>
        </p:spPr>
        <p:txBody>
          <a:bodyPr wrap="square" lIns="182880" tIns="146304" rIns="182880" bIns="146304">
            <a:spAutoFit/>
          </a:bodyPr>
          <a:lstStyle>
            <a:lvl1pPr marL="0" indent="0">
              <a:spcBef>
                <a:spcPts val="0"/>
              </a:spcBef>
              <a:buNone/>
              <a:defRPr sz="3200" spc="0" baseline="0">
                <a:gradFill>
                  <a:gsLst>
                    <a:gs pos="6195">
                      <a:schemeClr val="tx1"/>
                    </a:gs>
                    <a:gs pos="24779">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5514887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9143999"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8297919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546933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21239">
                      <a:srgbClr val="FFFFFF"/>
                    </a:gs>
                    <a:gs pos="52000">
                      <a:srgbClr val="FFFFFF"/>
                    </a:gs>
                  </a:gsLst>
                  <a:lin ang="5400000" scaled="0"/>
                </a:gradFill>
              </a:defRPr>
            </a:lvl1pPr>
          </a:lstStyle>
          <a:p>
            <a:r>
              <a:rPr lang="en-US" dirty="0"/>
              <a:t>Section title</a:t>
            </a:r>
          </a:p>
        </p:txBody>
      </p:sp>
    </p:spTree>
    <p:extLst>
      <p:ext uri="{BB962C8B-B14F-4D97-AF65-F5344CB8AC3E}">
        <p14:creationId xmlns:p14="http://schemas.microsoft.com/office/powerpoint/2010/main" val="10054444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7" name="Picture 6"/>
          <p:cNvPicPr>
            <a:picLocks noChangeAspect="1"/>
          </p:cNvPicPr>
          <p:nvPr userDrawn="1"/>
        </p:nvPicPr>
        <p:blipFill>
          <a:blip r:embed="rId2" cstate="print">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1616065874"/>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50-50 Right Photo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dpi="0" rotWithShape="1">
            <a:blip r:embed="rId2"/>
            <a:srcRect/>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6280782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9010388"/>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830934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nk Accent Color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839756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68521693"/>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rgbClr val="505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20117023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9510664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7570744"/>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Two 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198438" y="1212850"/>
            <a:ext cx="5562601" cy="1982081"/>
          </a:xfrm>
        </p:spPr>
        <p:txBody>
          <a:bodyPr wrap="square">
            <a:spAutoFit/>
          </a:bodyPr>
          <a:lstStyle>
            <a:lvl1pPr marL="0" indent="0">
              <a:spcBef>
                <a:spcPts val="1224"/>
              </a:spcBef>
              <a:buClr>
                <a:schemeClr val="bg1"/>
              </a:buClr>
              <a:buFont typeface="Arial" pitchFamily="34" charset="0"/>
              <a:buChar char="•"/>
              <a:defRPr sz="3199">
                <a:gradFill>
                  <a:gsLst>
                    <a:gs pos="1250">
                      <a:schemeClr val="tx2"/>
                    </a:gs>
                    <a:gs pos="99000">
                      <a:schemeClr val="tx2"/>
                    </a:gs>
                  </a:gsLst>
                  <a:lin ang="5400000" scaled="0"/>
                </a:gradFill>
              </a:defRPr>
            </a:lvl1pPr>
            <a:lvl2pPr marL="531064" indent="-233150">
              <a:buClr>
                <a:schemeClr val="bg1"/>
              </a:buClr>
              <a:defRPr sz="2400"/>
            </a:lvl2pPr>
            <a:lvl3pPr marL="699450" indent="-168387">
              <a:buClr>
                <a:schemeClr val="bg1"/>
              </a:buClr>
              <a:tabLst/>
              <a:defRPr sz="2000"/>
            </a:lvl3pPr>
            <a:lvl4pPr marL="880789" indent="-181339">
              <a:buClr>
                <a:schemeClr val="bg1"/>
              </a:buClr>
              <a:defRPr/>
            </a:lvl4pPr>
            <a:lvl5pPr marL="1049175" indent="-168387">
              <a:buClr>
                <a:schemeClr val="bg1"/>
              </a:buCl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99237" y="1212850"/>
            <a:ext cx="5562601" cy="1982081"/>
          </a:xfrm>
        </p:spPr>
        <p:txBody>
          <a:bodyPr wrap="square">
            <a:spAutoFit/>
          </a:bodyPr>
          <a:lstStyle>
            <a:lvl1pPr marL="0" indent="0">
              <a:spcBef>
                <a:spcPts val="1224"/>
              </a:spcBef>
              <a:buClr>
                <a:schemeClr val="bg1"/>
              </a:buClr>
              <a:buFont typeface="Arial" pitchFamily="34" charset="0"/>
              <a:buChar char="•"/>
              <a:defRPr sz="3199">
                <a:gradFill>
                  <a:gsLst>
                    <a:gs pos="1250">
                      <a:schemeClr val="tx2"/>
                    </a:gs>
                    <a:gs pos="99000">
                      <a:schemeClr val="tx2"/>
                    </a:gs>
                  </a:gsLst>
                  <a:lin ang="5400000" scaled="0"/>
                </a:gradFill>
              </a:defRPr>
            </a:lvl1pPr>
            <a:lvl2pPr marL="531064" indent="-233150">
              <a:buClr>
                <a:schemeClr val="bg1"/>
              </a:buClr>
              <a:defRPr sz="2400"/>
            </a:lvl2pPr>
            <a:lvl3pPr marL="699450" indent="-168387">
              <a:buClr>
                <a:schemeClr val="bg1"/>
              </a:buClr>
              <a:tabLst/>
              <a:defRPr sz="2000"/>
            </a:lvl3pPr>
            <a:lvl4pPr marL="880789" indent="-181339">
              <a:buClr>
                <a:schemeClr val="bg1"/>
              </a:buClr>
              <a:defRPr/>
            </a:lvl4pPr>
            <a:lvl5pPr marL="1049175" indent="-168387">
              <a:buClr>
                <a:schemeClr val="bg1"/>
              </a:buCl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Rectangle 8"/>
          <p:cNvSpPr/>
          <p:nvPr userDrawn="1"/>
        </p:nvSpPr>
        <p:spPr>
          <a:xfrm>
            <a:off x="183198" y="6740609"/>
            <a:ext cx="2408237" cy="258839"/>
          </a:xfrm>
          <a:prstGeom prst="rect">
            <a:avLst/>
          </a:prstGeom>
        </p:spPr>
        <p:txBody>
          <a:bodyPr wrap="square">
            <a:sp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0" normalizeH="0" baseline="0" noProof="0" dirty="0">
                <a:ln>
                  <a:noFill/>
                </a:ln>
                <a:solidFill>
                  <a:srgbClr val="505050"/>
                </a:solidFill>
                <a:effectLst/>
                <a:uLnTx/>
                <a:uFillTx/>
                <a:latin typeface="Segoe UI"/>
                <a:ea typeface="+mn-ea"/>
                <a:cs typeface="+mn-cs"/>
              </a:rPr>
              <a:t>Microsoft Confidential</a:t>
            </a: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106921" y="6491313"/>
            <a:ext cx="1085714" cy="412699"/>
          </a:xfrm>
          <a:prstGeom prst="rect">
            <a:avLst/>
          </a:prstGeom>
        </p:spPr>
      </p:pic>
    </p:spTree>
    <p:extLst>
      <p:ext uri="{BB962C8B-B14F-4D97-AF65-F5344CB8AC3E}">
        <p14:creationId xmlns:p14="http://schemas.microsoft.com/office/powerpoint/2010/main" val="4291130468"/>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11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36" name="Rectangle 35"/>
          <p:cNvSpPr/>
          <p:nvPr userDrawn="1"/>
        </p:nvSpPr>
        <p:spPr bwMode="auto">
          <a:xfrm>
            <a:off x="0" y="6451105"/>
            <a:ext cx="12436475" cy="543421"/>
          </a:xfrm>
          <a:prstGeom prst="rect">
            <a:avLst/>
          </a:prstGeom>
          <a:solidFill>
            <a:srgbClr val="409AE1"/>
          </a:solidFill>
          <a:ln w="28575">
            <a:noFill/>
          </a:ln>
        </p:spPr>
        <p:txBody>
          <a:bodyPr vert="horz" wrap="square" lIns="93247" tIns="46623" rIns="93247" bIns="46623" numCol="1" anchor="t" anchorCtr="0" compatLnSpc="1">
            <a:prstTxWarp prst="textNoShape">
              <a:avLst/>
            </a:prstTxWarp>
          </a:bodyPr>
          <a:lstStyle/>
          <a:p>
            <a:pPr marR="0" lvl="0" indent="0" defTabSz="951121" fontAlgn="auto">
              <a:lnSpc>
                <a:spcPct val="100000"/>
              </a:lnSpc>
              <a:spcBef>
                <a:spcPts val="0"/>
              </a:spcBef>
              <a:spcAft>
                <a:spcPts val="0"/>
              </a:spcAft>
              <a:buClrTx/>
              <a:buSzTx/>
              <a:buFontTx/>
              <a:buNone/>
              <a:tabLst/>
            </a:pPr>
            <a:endParaRPr kumimoji="0" lang="en-US" sz="1071" b="0" i="0" u="none" strike="noStrike" kern="0" cap="none" spc="0" normalizeH="0" baseline="0" dirty="0">
              <a:ln>
                <a:noFill/>
              </a:ln>
              <a:solidFill>
                <a:srgbClr val="333333"/>
              </a:solidFill>
              <a:effectLst/>
              <a:uLnTx/>
              <a:uFillTx/>
            </a:endParaRPr>
          </a:p>
        </p:txBody>
      </p:sp>
      <p:sp>
        <p:nvSpPr>
          <p:cNvPr id="6" name="Freeform 539"/>
          <p:cNvSpPr>
            <a:spLocks noChangeAspect="1"/>
          </p:cNvSpPr>
          <p:nvPr userDrawn="1"/>
        </p:nvSpPr>
        <p:spPr bwMode="auto">
          <a:xfrm>
            <a:off x="9490356" y="6077722"/>
            <a:ext cx="2007519" cy="110355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409AE1"/>
          </a:solidFill>
          <a:ln w="28575">
            <a:noFill/>
          </a:ln>
          <a:extLst/>
        </p:spPr>
        <p:txBody>
          <a:bodyPr vert="horz" wrap="square" lIns="93247" tIns="46623" rIns="93247" bIns="46623" numCol="1" anchor="t" anchorCtr="0" compatLnSpc="1">
            <a:prstTxWarp prst="textNoShape">
              <a:avLst/>
            </a:prstTxWarp>
          </a:bodyPr>
          <a:lstStyle/>
          <a:p>
            <a:pPr marL="0" marR="0" lvl="0" indent="0" defTabSz="951121" eaLnBrk="1" fontAlgn="auto" latinLnBrk="0" hangingPunct="1">
              <a:lnSpc>
                <a:spcPct val="100000"/>
              </a:lnSpc>
              <a:spcBef>
                <a:spcPts val="0"/>
              </a:spcBef>
              <a:spcAft>
                <a:spcPts val="0"/>
              </a:spcAft>
              <a:buClrTx/>
              <a:buSzTx/>
              <a:buFontTx/>
              <a:buNone/>
              <a:tabLst/>
              <a:defRPr/>
            </a:pPr>
            <a:endParaRPr kumimoji="0" lang="en-US" sz="1071" b="0" i="0" u="none" strike="noStrike" kern="0" cap="none" spc="0" normalizeH="0" baseline="0" noProof="0" dirty="0">
              <a:ln>
                <a:noFill/>
              </a:ln>
              <a:solidFill>
                <a:srgbClr val="333333"/>
              </a:solidFill>
              <a:effectLst/>
              <a:uLnTx/>
              <a:uFillTx/>
            </a:endParaRPr>
          </a:p>
        </p:txBody>
      </p:sp>
      <p:grpSp>
        <p:nvGrpSpPr>
          <p:cNvPr id="9" name="Group 8"/>
          <p:cNvGrpSpPr/>
          <p:nvPr userDrawn="1"/>
        </p:nvGrpSpPr>
        <p:grpSpPr>
          <a:xfrm>
            <a:off x="9525833" y="6339910"/>
            <a:ext cx="1861214" cy="789126"/>
            <a:chOff x="4494770" y="2621197"/>
            <a:chExt cx="3127126" cy="1326043"/>
          </a:xfrm>
        </p:grpSpPr>
        <p:sp>
          <p:nvSpPr>
            <p:cNvPr id="10" name="Freeform 12"/>
            <p:cNvSpPr>
              <a:spLocks/>
            </p:cNvSpPr>
            <p:nvPr/>
          </p:nvSpPr>
          <p:spPr bwMode="auto">
            <a:xfrm>
              <a:off x="4494770" y="3400845"/>
              <a:ext cx="457856" cy="62986"/>
            </a:xfrm>
            <a:custGeom>
              <a:avLst/>
              <a:gdLst>
                <a:gd name="T0" fmla="*/ 704 w 756"/>
                <a:gd name="T1" fmla="*/ 104 h 104"/>
                <a:gd name="T2" fmla="*/ 52 w 756"/>
                <a:gd name="T3" fmla="*/ 104 h 104"/>
                <a:gd name="T4" fmla="*/ 52 w 756"/>
                <a:gd name="T5" fmla="*/ 104 h 104"/>
                <a:gd name="T6" fmla="*/ 42 w 756"/>
                <a:gd name="T7" fmla="*/ 104 h 104"/>
                <a:gd name="T8" fmla="*/ 32 w 756"/>
                <a:gd name="T9" fmla="*/ 100 h 104"/>
                <a:gd name="T10" fmla="*/ 22 w 756"/>
                <a:gd name="T11" fmla="*/ 96 h 104"/>
                <a:gd name="T12" fmla="*/ 14 w 756"/>
                <a:gd name="T13" fmla="*/ 90 h 104"/>
                <a:gd name="T14" fmla="*/ 8 w 756"/>
                <a:gd name="T15" fmla="*/ 82 h 104"/>
                <a:gd name="T16" fmla="*/ 4 w 756"/>
                <a:gd name="T17" fmla="*/ 72 h 104"/>
                <a:gd name="T18" fmla="*/ 0 w 756"/>
                <a:gd name="T19" fmla="*/ 62 h 104"/>
                <a:gd name="T20" fmla="*/ 0 w 756"/>
                <a:gd name="T21" fmla="*/ 52 h 104"/>
                <a:gd name="T22" fmla="*/ 0 w 756"/>
                <a:gd name="T23" fmla="*/ 52 h 104"/>
                <a:gd name="T24" fmla="*/ 0 w 756"/>
                <a:gd name="T25" fmla="*/ 42 h 104"/>
                <a:gd name="T26" fmla="*/ 4 w 756"/>
                <a:gd name="T27" fmla="*/ 32 h 104"/>
                <a:gd name="T28" fmla="*/ 8 w 756"/>
                <a:gd name="T29" fmla="*/ 22 h 104"/>
                <a:gd name="T30" fmla="*/ 14 w 756"/>
                <a:gd name="T31" fmla="*/ 16 h 104"/>
                <a:gd name="T32" fmla="*/ 22 w 756"/>
                <a:gd name="T33" fmla="*/ 8 h 104"/>
                <a:gd name="T34" fmla="*/ 32 w 756"/>
                <a:gd name="T35" fmla="*/ 4 h 104"/>
                <a:gd name="T36" fmla="*/ 42 w 756"/>
                <a:gd name="T37" fmla="*/ 0 h 104"/>
                <a:gd name="T38" fmla="*/ 52 w 756"/>
                <a:gd name="T39" fmla="*/ 0 h 104"/>
                <a:gd name="T40" fmla="*/ 704 w 756"/>
                <a:gd name="T41" fmla="*/ 0 h 104"/>
                <a:gd name="T42" fmla="*/ 704 w 756"/>
                <a:gd name="T43" fmla="*/ 0 h 104"/>
                <a:gd name="T44" fmla="*/ 714 w 756"/>
                <a:gd name="T45" fmla="*/ 0 h 104"/>
                <a:gd name="T46" fmla="*/ 724 w 756"/>
                <a:gd name="T47" fmla="*/ 4 h 104"/>
                <a:gd name="T48" fmla="*/ 732 w 756"/>
                <a:gd name="T49" fmla="*/ 8 h 104"/>
                <a:gd name="T50" fmla="*/ 740 w 756"/>
                <a:gd name="T51" fmla="*/ 16 h 104"/>
                <a:gd name="T52" fmla="*/ 748 w 756"/>
                <a:gd name="T53" fmla="*/ 22 h 104"/>
                <a:gd name="T54" fmla="*/ 752 w 756"/>
                <a:gd name="T55" fmla="*/ 32 h 104"/>
                <a:gd name="T56" fmla="*/ 756 w 756"/>
                <a:gd name="T57" fmla="*/ 42 h 104"/>
                <a:gd name="T58" fmla="*/ 756 w 756"/>
                <a:gd name="T59" fmla="*/ 52 h 104"/>
                <a:gd name="T60" fmla="*/ 756 w 756"/>
                <a:gd name="T61" fmla="*/ 52 h 104"/>
                <a:gd name="T62" fmla="*/ 756 w 756"/>
                <a:gd name="T63" fmla="*/ 62 h 104"/>
                <a:gd name="T64" fmla="*/ 752 w 756"/>
                <a:gd name="T65" fmla="*/ 72 h 104"/>
                <a:gd name="T66" fmla="*/ 748 w 756"/>
                <a:gd name="T67" fmla="*/ 82 h 104"/>
                <a:gd name="T68" fmla="*/ 740 w 756"/>
                <a:gd name="T69" fmla="*/ 90 h 104"/>
                <a:gd name="T70" fmla="*/ 732 w 756"/>
                <a:gd name="T71" fmla="*/ 96 h 104"/>
                <a:gd name="T72" fmla="*/ 724 w 756"/>
                <a:gd name="T73" fmla="*/ 100 h 104"/>
                <a:gd name="T74" fmla="*/ 714 w 756"/>
                <a:gd name="T75" fmla="*/ 104 h 104"/>
                <a:gd name="T76" fmla="*/ 704 w 756"/>
                <a:gd name="T77" fmla="*/ 104 h 104"/>
                <a:gd name="T78" fmla="*/ 704 w 756"/>
                <a:gd name="T7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6" h="104">
                  <a:moveTo>
                    <a:pt x="704" y="104"/>
                  </a:moveTo>
                  <a:lnTo>
                    <a:pt x="52" y="104"/>
                  </a:lnTo>
                  <a:lnTo>
                    <a:pt x="52" y="104"/>
                  </a:lnTo>
                  <a:lnTo>
                    <a:pt x="42" y="104"/>
                  </a:lnTo>
                  <a:lnTo>
                    <a:pt x="32" y="100"/>
                  </a:lnTo>
                  <a:lnTo>
                    <a:pt x="22" y="96"/>
                  </a:lnTo>
                  <a:lnTo>
                    <a:pt x="14" y="90"/>
                  </a:lnTo>
                  <a:lnTo>
                    <a:pt x="8" y="82"/>
                  </a:lnTo>
                  <a:lnTo>
                    <a:pt x="4" y="72"/>
                  </a:lnTo>
                  <a:lnTo>
                    <a:pt x="0" y="62"/>
                  </a:lnTo>
                  <a:lnTo>
                    <a:pt x="0" y="52"/>
                  </a:lnTo>
                  <a:lnTo>
                    <a:pt x="0" y="52"/>
                  </a:lnTo>
                  <a:lnTo>
                    <a:pt x="0" y="42"/>
                  </a:lnTo>
                  <a:lnTo>
                    <a:pt x="4" y="32"/>
                  </a:lnTo>
                  <a:lnTo>
                    <a:pt x="8" y="22"/>
                  </a:lnTo>
                  <a:lnTo>
                    <a:pt x="14" y="16"/>
                  </a:lnTo>
                  <a:lnTo>
                    <a:pt x="22" y="8"/>
                  </a:lnTo>
                  <a:lnTo>
                    <a:pt x="32" y="4"/>
                  </a:lnTo>
                  <a:lnTo>
                    <a:pt x="42" y="0"/>
                  </a:lnTo>
                  <a:lnTo>
                    <a:pt x="52" y="0"/>
                  </a:lnTo>
                  <a:lnTo>
                    <a:pt x="704" y="0"/>
                  </a:lnTo>
                  <a:lnTo>
                    <a:pt x="704" y="0"/>
                  </a:lnTo>
                  <a:lnTo>
                    <a:pt x="714" y="0"/>
                  </a:lnTo>
                  <a:lnTo>
                    <a:pt x="724" y="4"/>
                  </a:lnTo>
                  <a:lnTo>
                    <a:pt x="732" y="8"/>
                  </a:lnTo>
                  <a:lnTo>
                    <a:pt x="740" y="16"/>
                  </a:lnTo>
                  <a:lnTo>
                    <a:pt x="748" y="22"/>
                  </a:lnTo>
                  <a:lnTo>
                    <a:pt x="752" y="32"/>
                  </a:lnTo>
                  <a:lnTo>
                    <a:pt x="756" y="42"/>
                  </a:lnTo>
                  <a:lnTo>
                    <a:pt x="756" y="52"/>
                  </a:lnTo>
                  <a:lnTo>
                    <a:pt x="756" y="52"/>
                  </a:lnTo>
                  <a:lnTo>
                    <a:pt x="756" y="62"/>
                  </a:lnTo>
                  <a:lnTo>
                    <a:pt x="752" y="72"/>
                  </a:lnTo>
                  <a:lnTo>
                    <a:pt x="748" y="82"/>
                  </a:lnTo>
                  <a:lnTo>
                    <a:pt x="740" y="90"/>
                  </a:lnTo>
                  <a:lnTo>
                    <a:pt x="732" y="96"/>
                  </a:lnTo>
                  <a:lnTo>
                    <a:pt x="724" y="100"/>
                  </a:lnTo>
                  <a:lnTo>
                    <a:pt x="714" y="104"/>
                  </a:lnTo>
                  <a:lnTo>
                    <a:pt x="704" y="104"/>
                  </a:lnTo>
                  <a:lnTo>
                    <a:pt x="70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11" name="Freeform 13"/>
            <p:cNvSpPr>
              <a:spLocks/>
            </p:cNvSpPr>
            <p:nvPr/>
          </p:nvSpPr>
          <p:spPr bwMode="auto">
            <a:xfrm>
              <a:off x="4889641" y="3331803"/>
              <a:ext cx="540222" cy="245886"/>
            </a:xfrm>
            <a:custGeom>
              <a:avLst/>
              <a:gdLst>
                <a:gd name="T0" fmla="*/ 456 w 892"/>
                <a:gd name="T1" fmla="*/ 406 h 406"/>
                <a:gd name="T2" fmla="*/ 436 w 892"/>
                <a:gd name="T3" fmla="*/ 402 h 406"/>
                <a:gd name="T4" fmla="*/ 418 w 892"/>
                <a:gd name="T5" fmla="*/ 390 h 406"/>
                <a:gd name="T6" fmla="*/ 408 w 892"/>
                <a:gd name="T7" fmla="*/ 374 h 406"/>
                <a:gd name="T8" fmla="*/ 404 w 892"/>
                <a:gd name="T9" fmla="*/ 354 h 406"/>
                <a:gd name="T10" fmla="*/ 402 w 892"/>
                <a:gd name="T11" fmla="*/ 346 h 406"/>
                <a:gd name="T12" fmla="*/ 396 w 892"/>
                <a:gd name="T13" fmla="*/ 344 h 406"/>
                <a:gd name="T14" fmla="*/ 164 w 892"/>
                <a:gd name="T15" fmla="*/ 344 h 406"/>
                <a:gd name="T16" fmla="*/ 138 w 892"/>
                <a:gd name="T17" fmla="*/ 344 h 406"/>
                <a:gd name="T18" fmla="*/ 104 w 892"/>
                <a:gd name="T19" fmla="*/ 336 h 406"/>
                <a:gd name="T20" fmla="*/ 66 w 892"/>
                <a:gd name="T21" fmla="*/ 318 h 406"/>
                <a:gd name="T22" fmla="*/ 46 w 892"/>
                <a:gd name="T23" fmla="*/ 302 h 406"/>
                <a:gd name="T24" fmla="*/ 30 w 892"/>
                <a:gd name="T25" fmla="*/ 284 h 406"/>
                <a:gd name="T26" fmla="*/ 14 w 892"/>
                <a:gd name="T27" fmla="*/ 258 h 406"/>
                <a:gd name="T28" fmla="*/ 4 w 892"/>
                <a:gd name="T29" fmla="*/ 224 h 406"/>
                <a:gd name="T30" fmla="*/ 0 w 892"/>
                <a:gd name="T31" fmla="*/ 180 h 406"/>
                <a:gd name="T32" fmla="*/ 0 w 892"/>
                <a:gd name="T33" fmla="*/ 156 h 406"/>
                <a:gd name="T34" fmla="*/ 10 w 892"/>
                <a:gd name="T35" fmla="*/ 114 h 406"/>
                <a:gd name="T36" fmla="*/ 28 w 892"/>
                <a:gd name="T37" fmla="*/ 80 h 406"/>
                <a:gd name="T38" fmla="*/ 52 w 892"/>
                <a:gd name="T39" fmla="*/ 54 h 406"/>
                <a:gd name="T40" fmla="*/ 78 w 892"/>
                <a:gd name="T41" fmla="*/ 32 h 406"/>
                <a:gd name="T42" fmla="*/ 108 w 892"/>
                <a:gd name="T43" fmla="*/ 18 h 406"/>
                <a:gd name="T44" fmla="*/ 150 w 892"/>
                <a:gd name="T45" fmla="*/ 4 h 406"/>
                <a:gd name="T46" fmla="*/ 840 w 892"/>
                <a:gd name="T47" fmla="*/ 0 h 406"/>
                <a:gd name="T48" fmla="*/ 852 w 892"/>
                <a:gd name="T49" fmla="*/ 2 h 406"/>
                <a:gd name="T50" fmla="*/ 870 w 892"/>
                <a:gd name="T51" fmla="*/ 10 h 406"/>
                <a:gd name="T52" fmla="*/ 884 w 892"/>
                <a:gd name="T53" fmla="*/ 24 h 406"/>
                <a:gd name="T54" fmla="*/ 892 w 892"/>
                <a:gd name="T55" fmla="*/ 42 h 406"/>
                <a:gd name="T56" fmla="*/ 892 w 892"/>
                <a:gd name="T57" fmla="*/ 52 h 406"/>
                <a:gd name="T58" fmla="*/ 888 w 892"/>
                <a:gd name="T59" fmla="*/ 74 h 406"/>
                <a:gd name="T60" fmla="*/ 878 w 892"/>
                <a:gd name="T61" fmla="*/ 90 h 406"/>
                <a:gd name="T62" fmla="*/ 860 w 892"/>
                <a:gd name="T63" fmla="*/ 102 h 406"/>
                <a:gd name="T64" fmla="*/ 840 w 892"/>
                <a:gd name="T65" fmla="*/ 106 h 406"/>
                <a:gd name="T66" fmla="*/ 180 w 892"/>
                <a:gd name="T67" fmla="*/ 106 h 406"/>
                <a:gd name="T68" fmla="*/ 148 w 892"/>
                <a:gd name="T69" fmla="*/ 114 h 406"/>
                <a:gd name="T70" fmla="*/ 124 w 892"/>
                <a:gd name="T71" fmla="*/ 130 h 406"/>
                <a:gd name="T72" fmla="*/ 110 w 892"/>
                <a:gd name="T73" fmla="*/ 150 h 406"/>
                <a:gd name="T74" fmla="*/ 104 w 892"/>
                <a:gd name="T75" fmla="*/ 170 h 406"/>
                <a:gd name="T76" fmla="*/ 104 w 892"/>
                <a:gd name="T77" fmla="*/ 180 h 406"/>
                <a:gd name="T78" fmla="*/ 108 w 892"/>
                <a:gd name="T79" fmla="*/ 208 h 406"/>
                <a:gd name="T80" fmla="*/ 118 w 892"/>
                <a:gd name="T81" fmla="*/ 226 h 406"/>
                <a:gd name="T82" fmla="*/ 130 w 892"/>
                <a:gd name="T83" fmla="*/ 234 h 406"/>
                <a:gd name="T84" fmla="*/ 152 w 892"/>
                <a:gd name="T85" fmla="*/ 240 h 406"/>
                <a:gd name="T86" fmla="*/ 394 w 892"/>
                <a:gd name="T87" fmla="*/ 240 h 406"/>
                <a:gd name="T88" fmla="*/ 406 w 892"/>
                <a:gd name="T89" fmla="*/ 240 h 406"/>
                <a:gd name="T90" fmla="*/ 438 w 892"/>
                <a:gd name="T91" fmla="*/ 248 h 406"/>
                <a:gd name="T92" fmla="*/ 464 w 892"/>
                <a:gd name="T93" fmla="*/ 260 h 406"/>
                <a:gd name="T94" fmla="*/ 476 w 892"/>
                <a:gd name="T95" fmla="*/ 270 h 406"/>
                <a:gd name="T96" fmla="*/ 498 w 892"/>
                <a:gd name="T97" fmla="*/ 302 h 406"/>
                <a:gd name="T98" fmla="*/ 506 w 892"/>
                <a:gd name="T99" fmla="*/ 324 h 406"/>
                <a:gd name="T100" fmla="*/ 508 w 892"/>
                <a:gd name="T101" fmla="*/ 354 h 406"/>
                <a:gd name="T102" fmla="*/ 508 w 892"/>
                <a:gd name="T103" fmla="*/ 364 h 406"/>
                <a:gd name="T104" fmla="*/ 500 w 892"/>
                <a:gd name="T105" fmla="*/ 384 h 406"/>
                <a:gd name="T106" fmla="*/ 486 w 892"/>
                <a:gd name="T107" fmla="*/ 398 h 406"/>
                <a:gd name="T108" fmla="*/ 466 w 892"/>
                <a:gd name="T109" fmla="*/ 406 h 406"/>
                <a:gd name="T110" fmla="*/ 456 w 892"/>
                <a:gd name="T111"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2" h="406">
                  <a:moveTo>
                    <a:pt x="456" y="406"/>
                  </a:moveTo>
                  <a:lnTo>
                    <a:pt x="456" y="406"/>
                  </a:lnTo>
                  <a:lnTo>
                    <a:pt x="446" y="406"/>
                  </a:lnTo>
                  <a:lnTo>
                    <a:pt x="436" y="402"/>
                  </a:lnTo>
                  <a:lnTo>
                    <a:pt x="426" y="398"/>
                  </a:lnTo>
                  <a:lnTo>
                    <a:pt x="418" y="390"/>
                  </a:lnTo>
                  <a:lnTo>
                    <a:pt x="412" y="384"/>
                  </a:lnTo>
                  <a:lnTo>
                    <a:pt x="408" y="374"/>
                  </a:lnTo>
                  <a:lnTo>
                    <a:pt x="404" y="364"/>
                  </a:lnTo>
                  <a:lnTo>
                    <a:pt x="404" y="354"/>
                  </a:lnTo>
                  <a:lnTo>
                    <a:pt x="404" y="354"/>
                  </a:lnTo>
                  <a:lnTo>
                    <a:pt x="402" y="346"/>
                  </a:lnTo>
                  <a:lnTo>
                    <a:pt x="402" y="346"/>
                  </a:lnTo>
                  <a:lnTo>
                    <a:pt x="396" y="344"/>
                  </a:lnTo>
                  <a:lnTo>
                    <a:pt x="164" y="344"/>
                  </a:lnTo>
                  <a:lnTo>
                    <a:pt x="164" y="344"/>
                  </a:lnTo>
                  <a:lnTo>
                    <a:pt x="150" y="344"/>
                  </a:lnTo>
                  <a:lnTo>
                    <a:pt x="138" y="344"/>
                  </a:lnTo>
                  <a:lnTo>
                    <a:pt x="122" y="340"/>
                  </a:lnTo>
                  <a:lnTo>
                    <a:pt x="104" y="336"/>
                  </a:lnTo>
                  <a:lnTo>
                    <a:pt x="84" y="328"/>
                  </a:lnTo>
                  <a:lnTo>
                    <a:pt x="66" y="318"/>
                  </a:lnTo>
                  <a:lnTo>
                    <a:pt x="46" y="302"/>
                  </a:lnTo>
                  <a:lnTo>
                    <a:pt x="46" y="302"/>
                  </a:lnTo>
                  <a:lnTo>
                    <a:pt x="38" y="294"/>
                  </a:lnTo>
                  <a:lnTo>
                    <a:pt x="30" y="284"/>
                  </a:lnTo>
                  <a:lnTo>
                    <a:pt x="22" y="272"/>
                  </a:lnTo>
                  <a:lnTo>
                    <a:pt x="14" y="258"/>
                  </a:lnTo>
                  <a:lnTo>
                    <a:pt x="8" y="242"/>
                  </a:lnTo>
                  <a:lnTo>
                    <a:pt x="4" y="224"/>
                  </a:lnTo>
                  <a:lnTo>
                    <a:pt x="0" y="204"/>
                  </a:lnTo>
                  <a:lnTo>
                    <a:pt x="0" y="180"/>
                  </a:lnTo>
                  <a:lnTo>
                    <a:pt x="0" y="180"/>
                  </a:lnTo>
                  <a:lnTo>
                    <a:pt x="0" y="156"/>
                  </a:lnTo>
                  <a:lnTo>
                    <a:pt x="4" y="134"/>
                  </a:lnTo>
                  <a:lnTo>
                    <a:pt x="10" y="114"/>
                  </a:lnTo>
                  <a:lnTo>
                    <a:pt x="18" y="96"/>
                  </a:lnTo>
                  <a:lnTo>
                    <a:pt x="28" y="80"/>
                  </a:lnTo>
                  <a:lnTo>
                    <a:pt x="38" y="66"/>
                  </a:lnTo>
                  <a:lnTo>
                    <a:pt x="52" y="54"/>
                  </a:lnTo>
                  <a:lnTo>
                    <a:pt x="64" y="42"/>
                  </a:lnTo>
                  <a:lnTo>
                    <a:pt x="78" y="32"/>
                  </a:lnTo>
                  <a:lnTo>
                    <a:pt x="92" y="24"/>
                  </a:lnTo>
                  <a:lnTo>
                    <a:pt x="108" y="18"/>
                  </a:lnTo>
                  <a:lnTo>
                    <a:pt x="122" y="12"/>
                  </a:lnTo>
                  <a:lnTo>
                    <a:pt x="150" y="4"/>
                  </a:lnTo>
                  <a:lnTo>
                    <a:pt x="176" y="0"/>
                  </a:lnTo>
                  <a:lnTo>
                    <a:pt x="840" y="0"/>
                  </a:lnTo>
                  <a:lnTo>
                    <a:pt x="840" y="0"/>
                  </a:lnTo>
                  <a:lnTo>
                    <a:pt x="852" y="2"/>
                  </a:lnTo>
                  <a:lnTo>
                    <a:pt x="860" y="4"/>
                  </a:lnTo>
                  <a:lnTo>
                    <a:pt x="870" y="10"/>
                  </a:lnTo>
                  <a:lnTo>
                    <a:pt x="878" y="16"/>
                  </a:lnTo>
                  <a:lnTo>
                    <a:pt x="884" y="24"/>
                  </a:lnTo>
                  <a:lnTo>
                    <a:pt x="888" y="32"/>
                  </a:lnTo>
                  <a:lnTo>
                    <a:pt x="892" y="42"/>
                  </a:lnTo>
                  <a:lnTo>
                    <a:pt x="892" y="52"/>
                  </a:lnTo>
                  <a:lnTo>
                    <a:pt x="892" y="52"/>
                  </a:lnTo>
                  <a:lnTo>
                    <a:pt x="892" y="64"/>
                  </a:lnTo>
                  <a:lnTo>
                    <a:pt x="888" y="74"/>
                  </a:lnTo>
                  <a:lnTo>
                    <a:pt x="884" y="82"/>
                  </a:lnTo>
                  <a:lnTo>
                    <a:pt x="878" y="90"/>
                  </a:lnTo>
                  <a:lnTo>
                    <a:pt x="870" y="96"/>
                  </a:lnTo>
                  <a:lnTo>
                    <a:pt x="860" y="102"/>
                  </a:lnTo>
                  <a:lnTo>
                    <a:pt x="852" y="104"/>
                  </a:lnTo>
                  <a:lnTo>
                    <a:pt x="840" y="106"/>
                  </a:lnTo>
                  <a:lnTo>
                    <a:pt x="180" y="106"/>
                  </a:lnTo>
                  <a:lnTo>
                    <a:pt x="180" y="106"/>
                  </a:lnTo>
                  <a:lnTo>
                    <a:pt x="162" y="108"/>
                  </a:lnTo>
                  <a:lnTo>
                    <a:pt x="148" y="114"/>
                  </a:lnTo>
                  <a:lnTo>
                    <a:pt x="136" y="120"/>
                  </a:lnTo>
                  <a:lnTo>
                    <a:pt x="124" y="130"/>
                  </a:lnTo>
                  <a:lnTo>
                    <a:pt x="114" y="142"/>
                  </a:lnTo>
                  <a:lnTo>
                    <a:pt x="110" y="150"/>
                  </a:lnTo>
                  <a:lnTo>
                    <a:pt x="106" y="158"/>
                  </a:lnTo>
                  <a:lnTo>
                    <a:pt x="104" y="170"/>
                  </a:lnTo>
                  <a:lnTo>
                    <a:pt x="104" y="180"/>
                  </a:lnTo>
                  <a:lnTo>
                    <a:pt x="104" y="180"/>
                  </a:lnTo>
                  <a:lnTo>
                    <a:pt x="106" y="196"/>
                  </a:lnTo>
                  <a:lnTo>
                    <a:pt x="108" y="208"/>
                  </a:lnTo>
                  <a:lnTo>
                    <a:pt x="112" y="218"/>
                  </a:lnTo>
                  <a:lnTo>
                    <a:pt x="118" y="226"/>
                  </a:lnTo>
                  <a:lnTo>
                    <a:pt x="118" y="226"/>
                  </a:lnTo>
                  <a:lnTo>
                    <a:pt x="130" y="234"/>
                  </a:lnTo>
                  <a:lnTo>
                    <a:pt x="142" y="238"/>
                  </a:lnTo>
                  <a:lnTo>
                    <a:pt x="152" y="240"/>
                  </a:lnTo>
                  <a:lnTo>
                    <a:pt x="160" y="240"/>
                  </a:lnTo>
                  <a:lnTo>
                    <a:pt x="394" y="240"/>
                  </a:lnTo>
                  <a:lnTo>
                    <a:pt x="394" y="240"/>
                  </a:lnTo>
                  <a:lnTo>
                    <a:pt x="406" y="240"/>
                  </a:lnTo>
                  <a:lnTo>
                    <a:pt x="426" y="244"/>
                  </a:lnTo>
                  <a:lnTo>
                    <a:pt x="438" y="248"/>
                  </a:lnTo>
                  <a:lnTo>
                    <a:pt x="450" y="252"/>
                  </a:lnTo>
                  <a:lnTo>
                    <a:pt x="464" y="260"/>
                  </a:lnTo>
                  <a:lnTo>
                    <a:pt x="476" y="270"/>
                  </a:lnTo>
                  <a:lnTo>
                    <a:pt x="476" y="270"/>
                  </a:lnTo>
                  <a:lnTo>
                    <a:pt x="488" y="284"/>
                  </a:lnTo>
                  <a:lnTo>
                    <a:pt x="498" y="302"/>
                  </a:lnTo>
                  <a:lnTo>
                    <a:pt x="502" y="312"/>
                  </a:lnTo>
                  <a:lnTo>
                    <a:pt x="506" y="324"/>
                  </a:lnTo>
                  <a:lnTo>
                    <a:pt x="508" y="338"/>
                  </a:lnTo>
                  <a:lnTo>
                    <a:pt x="508" y="354"/>
                  </a:lnTo>
                  <a:lnTo>
                    <a:pt x="508" y="354"/>
                  </a:lnTo>
                  <a:lnTo>
                    <a:pt x="508" y="364"/>
                  </a:lnTo>
                  <a:lnTo>
                    <a:pt x="504" y="374"/>
                  </a:lnTo>
                  <a:lnTo>
                    <a:pt x="500" y="384"/>
                  </a:lnTo>
                  <a:lnTo>
                    <a:pt x="494" y="390"/>
                  </a:lnTo>
                  <a:lnTo>
                    <a:pt x="486" y="398"/>
                  </a:lnTo>
                  <a:lnTo>
                    <a:pt x="476" y="402"/>
                  </a:lnTo>
                  <a:lnTo>
                    <a:pt x="466" y="406"/>
                  </a:lnTo>
                  <a:lnTo>
                    <a:pt x="456" y="406"/>
                  </a:lnTo>
                  <a:lnTo>
                    <a:pt x="456"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12" name="Freeform 14"/>
            <p:cNvSpPr>
              <a:spLocks/>
            </p:cNvSpPr>
            <p:nvPr/>
          </p:nvSpPr>
          <p:spPr bwMode="auto">
            <a:xfrm>
              <a:off x="6726775" y="3077438"/>
              <a:ext cx="895121" cy="245886"/>
            </a:xfrm>
            <a:custGeom>
              <a:avLst/>
              <a:gdLst>
                <a:gd name="T0" fmla="*/ 52 w 1478"/>
                <a:gd name="T1" fmla="*/ 406 h 406"/>
                <a:gd name="T2" fmla="*/ 32 w 1478"/>
                <a:gd name="T3" fmla="*/ 402 h 406"/>
                <a:gd name="T4" fmla="*/ 14 w 1478"/>
                <a:gd name="T5" fmla="*/ 390 h 406"/>
                <a:gd name="T6" fmla="*/ 4 w 1478"/>
                <a:gd name="T7" fmla="*/ 374 h 406"/>
                <a:gd name="T8" fmla="*/ 0 w 1478"/>
                <a:gd name="T9" fmla="*/ 352 h 406"/>
                <a:gd name="T10" fmla="*/ 0 w 1478"/>
                <a:gd name="T11" fmla="*/ 342 h 406"/>
                <a:gd name="T12" fmla="*/ 8 w 1478"/>
                <a:gd name="T13" fmla="*/ 324 h 406"/>
                <a:gd name="T14" fmla="*/ 22 w 1478"/>
                <a:gd name="T15" fmla="*/ 310 h 406"/>
                <a:gd name="T16" fmla="*/ 42 w 1478"/>
                <a:gd name="T17" fmla="*/ 302 h 406"/>
                <a:gd name="T18" fmla="*/ 1300 w 1478"/>
                <a:gd name="T19" fmla="*/ 300 h 406"/>
                <a:gd name="T20" fmla="*/ 1316 w 1478"/>
                <a:gd name="T21" fmla="*/ 296 h 406"/>
                <a:gd name="T22" fmla="*/ 1342 w 1478"/>
                <a:gd name="T23" fmla="*/ 286 h 406"/>
                <a:gd name="T24" fmla="*/ 1364 w 1478"/>
                <a:gd name="T25" fmla="*/ 264 h 406"/>
                <a:gd name="T26" fmla="*/ 1372 w 1478"/>
                <a:gd name="T27" fmla="*/ 246 h 406"/>
                <a:gd name="T28" fmla="*/ 1374 w 1478"/>
                <a:gd name="T29" fmla="*/ 226 h 406"/>
                <a:gd name="T30" fmla="*/ 1374 w 1478"/>
                <a:gd name="T31" fmla="*/ 210 h 406"/>
                <a:gd name="T32" fmla="*/ 1366 w 1478"/>
                <a:gd name="T33" fmla="*/ 188 h 406"/>
                <a:gd name="T34" fmla="*/ 1360 w 1478"/>
                <a:gd name="T35" fmla="*/ 180 h 406"/>
                <a:gd name="T36" fmla="*/ 1336 w 1478"/>
                <a:gd name="T37" fmla="*/ 168 h 406"/>
                <a:gd name="T38" fmla="*/ 1318 w 1478"/>
                <a:gd name="T39" fmla="*/ 166 h 406"/>
                <a:gd name="T40" fmla="*/ 1084 w 1478"/>
                <a:gd name="T41" fmla="*/ 166 h 406"/>
                <a:gd name="T42" fmla="*/ 1052 w 1478"/>
                <a:gd name="T43" fmla="*/ 162 h 406"/>
                <a:gd name="T44" fmla="*/ 1028 w 1478"/>
                <a:gd name="T45" fmla="*/ 152 h 406"/>
                <a:gd name="T46" fmla="*/ 1002 w 1478"/>
                <a:gd name="T47" fmla="*/ 134 h 406"/>
                <a:gd name="T48" fmla="*/ 990 w 1478"/>
                <a:gd name="T49" fmla="*/ 122 h 406"/>
                <a:gd name="T50" fmla="*/ 976 w 1478"/>
                <a:gd name="T51" fmla="*/ 94 h 406"/>
                <a:gd name="T52" fmla="*/ 970 w 1478"/>
                <a:gd name="T53" fmla="*/ 68 h 406"/>
                <a:gd name="T54" fmla="*/ 970 w 1478"/>
                <a:gd name="T55" fmla="*/ 52 h 406"/>
                <a:gd name="T56" fmla="*/ 974 w 1478"/>
                <a:gd name="T57" fmla="*/ 32 h 406"/>
                <a:gd name="T58" fmla="*/ 984 w 1478"/>
                <a:gd name="T59" fmla="*/ 14 h 406"/>
                <a:gd name="T60" fmla="*/ 1002 w 1478"/>
                <a:gd name="T61" fmla="*/ 4 h 406"/>
                <a:gd name="T62" fmla="*/ 1022 w 1478"/>
                <a:gd name="T63" fmla="*/ 0 h 406"/>
                <a:gd name="T64" fmla="*/ 1032 w 1478"/>
                <a:gd name="T65" fmla="*/ 0 h 406"/>
                <a:gd name="T66" fmla="*/ 1052 w 1478"/>
                <a:gd name="T67" fmla="*/ 8 h 406"/>
                <a:gd name="T68" fmla="*/ 1066 w 1478"/>
                <a:gd name="T69" fmla="*/ 22 h 406"/>
                <a:gd name="T70" fmla="*/ 1074 w 1478"/>
                <a:gd name="T71" fmla="*/ 42 h 406"/>
                <a:gd name="T72" fmla="*/ 1074 w 1478"/>
                <a:gd name="T73" fmla="*/ 52 h 406"/>
                <a:gd name="T74" fmla="*/ 1076 w 1478"/>
                <a:gd name="T75" fmla="*/ 60 h 406"/>
                <a:gd name="T76" fmla="*/ 1314 w 1478"/>
                <a:gd name="T77" fmla="*/ 60 h 406"/>
                <a:gd name="T78" fmla="*/ 1328 w 1478"/>
                <a:gd name="T79" fmla="*/ 60 h 406"/>
                <a:gd name="T80" fmla="*/ 1356 w 1478"/>
                <a:gd name="T81" fmla="*/ 64 h 406"/>
                <a:gd name="T82" fmla="*/ 1394 w 1478"/>
                <a:gd name="T83" fmla="*/ 78 h 406"/>
                <a:gd name="T84" fmla="*/ 1432 w 1478"/>
                <a:gd name="T85" fmla="*/ 104 h 406"/>
                <a:gd name="T86" fmla="*/ 1440 w 1478"/>
                <a:gd name="T87" fmla="*/ 112 h 406"/>
                <a:gd name="T88" fmla="*/ 1456 w 1478"/>
                <a:gd name="T89" fmla="*/ 134 h 406"/>
                <a:gd name="T90" fmla="*/ 1470 w 1478"/>
                <a:gd name="T91" fmla="*/ 164 h 406"/>
                <a:gd name="T92" fmla="*/ 1478 w 1478"/>
                <a:gd name="T93" fmla="*/ 202 h 406"/>
                <a:gd name="T94" fmla="*/ 1478 w 1478"/>
                <a:gd name="T95" fmla="*/ 226 h 406"/>
                <a:gd name="T96" fmla="*/ 1474 w 1478"/>
                <a:gd name="T97" fmla="*/ 272 h 406"/>
                <a:gd name="T98" fmla="*/ 1460 w 1478"/>
                <a:gd name="T99" fmla="*/ 310 h 406"/>
                <a:gd name="T100" fmla="*/ 1440 w 1478"/>
                <a:gd name="T101" fmla="*/ 340 h 406"/>
                <a:gd name="T102" fmla="*/ 1414 w 1478"/>
                <a:gd name="T103" fmla="*/ 364 h 406"/>
                <a:gd name="T104" fmla="*/ 1386 w 1478"/>
                <a:gd name="T105" fmla="*/ 382 h 406"/>
                <a:gd name="T106" fmla="*/ 1356 w 1478"/>
                <a:gd name="T107" fmla="*/ 394 h 406"/>
                <a:gd name="T108" fmla="*/ 1302 w 1478"/>
                <a:gd name="T109"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8" h="406">
                  <a:moveTo>
                    <a:pt x="52" y="406"/>
                  </a:moveTo>
                  <a:lnTo>
                    <a:pt x="52" y="406"/>
                  </a:lnTo>
                  <a:lnTo>
                    <a:pt x="42" y="404"/>
                  </a:lnTo>
                  <a:lnTo>
                    <a:pt x="32" y="402"/>
                  </a:lnTo>
                  <a:lnTo>
                    <a:pt x="22" y="396"/>
                  </a:lnTo>
                  <a:lnTo>
                    <a:pt x="14" y="390"/>
                  </a:lnTo>
                  <a:lnTo>
                    <a:pt x="8" y="382"/>
                  </a:lnTo>
                  <a:lnTo>
                    <a:pt x="4" y="374"/>
                  </a:lnTo>
                  <a:lnTo>
                    <a:pt x="0" y="364"/>
                  </a:lnTo>
                  <a:lnTo>
                    <a:pt x="0" y="352"/>
                  </a:lnTo>
                  <a:lnTo>
                    <a:pt x="0" y="352"/>
                  </a:lnTo>
                  <a:lnTo>
                    <a:pt x="0" y="342"/>
                  </a:lnTo>
                  <a:lnTo>
                    <a:pt x="4" y="332"/>
                  </a:lnTo>
                  <a:lnTo>
                    <a:pt x="8" y="324"/>
                  </a:lnTo>
                  <a:lnTo>
                    <a:pt x="14" y="316"/>
                  </a:lnTo>
                  <a:lnTo>
                    <a:pt x="22" y="310"/>
                  </a:lnTo>
                  <a:lnTo>
                    <a:pt x="32" y="304"/>
                  </a:lnTo>
                  <a:lnTo>
                    <a:pt x="42" y="302"/>
                  </a:lnTo>
                  <a:lnTo>
                    <a:pt x="52" y="300"/>
                  </a:lnTo>
                  <a:lnTo>
                    <a:pt x="1300" y="300"/>
                  </a:lnTo>
                  <a:lnTo>
                    <a:pt x="1300" y="300"/>
                  </a:lnTo>
                  <a:lnTo>
                    <a:pt x="1316" y="296"/>
                  </a:lnTo>
                  <a:lnTo>
                    <a:pt x="1330" y="292"/>
                  </a:lnTo>
                  <a:lnTo>
                    <a:pt x="1342" y="286"/>
                  </a:lnTo>
                  <a:lnTo>
                    <a:pt x="1354" y="276"/>
                  </a:lnTo>
                  <a:lnTo>
                    <a:pt x="1364" y="264"/>
                  </a:lnTo>
                  <a:lnTo>
                    <a:pt x="1368" y="256"/>
                  </a:lnTo>
                  <a:lnTo>
                    <a:pt x="1372" y="246"/>
                  </a:lnTo>
                  <a:lnTo>
                    <a:pt x="1374" y="236"/>
                  </a:lnTo>
                  <a:lnTo>
                    <a:pt x="1374" y="226"/>
                  </a:lnTo>
                  <a:lnTo>
                    <a:pt x="1374" y="226"/>
                  </a:lnTo>
                  <a:lnTo>
                    <a:pt x="1374" y="210"/>
                  </a:lnTo>
                  <a:lnTo>
                    <a:pt x="1370" y="198"/>
                  </a:lnTo>
                  <a:lnTo>
                    <a:pt x="1366" y="188"/>
                  </a:lnTo>
                  <a:lnTo>
                    <a:pt x="1360" y="180"/>
                  </a:lnTo>
                  <a:lnTo>
                    <a:pt x="1360" y="180"/>
                  </a:lnTo>
                  <a:lnTo>
                    <a:pt x="1348" y="172"/>
                  </a:lnTo>
                  <a:lnTo>
                    <a:pt x="1336" y="168"/>
                  </a:lnTo>
                  <a:lnTo>
                    <a:pt x="1326" y="166"/>
                  </a:lnTo>
                  <a:lnTo>
                    <a:pt x="1318" y="166"/>
                  </a:lnTo>
                  <a:lnTo>
                    <a:pt x="1084" y="166"/>
                  </a:lnTo>
                  <a:lnTo>
                    <a:pt x="1084" y="166"/>
                  </a:lnTo>
                  <a:lnTo>
                    <a:pt x="1072" y="166"/>
                  </a:lnTo>
                  <a:lnTo>
                    <a:pt x="1052" y="162"/>
                  </a:lnTo>
                  <a:lnTo>
                    <a:pt x="1040" y="158"/>
                  </a:lnTo>
                  <a:lnTo>
                    <a:pt x="1028" y="152"/>
                  </a:lnTo>
                  <a:lnTo>
                    <a:pt x="1014" y="146"/>
                  </a:lnTo>
                  <a:lnTo>
                    <a:pt x="1002" y="134"/>
                  </a:lnTo>
                  <a:lnTo>
                    <a:pt x="1002" y="134"/>
                  </a:lnTo>
                  <a:lnTo>
                    <a:pt x="990" y="122"/>
                  </a:lnTo>
                  <a:lnTo>
                    <a:pt x="980" y="104"/>
                  </a:lnTo>
                  <a:lnTo>
                    <a:pt x="976" y="94"/>
                  </a:lnTo>
                  <a:lnTo>
                    <a:pt x="972" y="80"/>
                  </a:lnTo>
                  <a:lnTo>
                    <a:pt x="970" y="68"/>
                  </a:lnTo>
                  <a:lnTo>
                    <a:pt x="970" y="52"/>
                  </a:lnTo>
                  <a:lnTo>
                    <a:pt x="970" y="52"/>
                  </a:lnTo>
                  <a:lnTo>
                    <a:pt x="970" y="42"/>
                  </a:lnTo>
                  <a:lnTo>
                    <a:pt x="974" y="32"/>
                  </a:lnTo>
                  <a:lnTo>
                    <a:pt x="978" y="22"/>
                  </a:lnTo>
                  <a:lnTo>
                    <a:pt x="984" y="14"/>
                  </a:lnTo>
                  <a:lnTo>
                    <a:pt x="992" y="8"/>
                  </a:lnTo>
                  <a:lnTo>
                    <a:pt x="1002" y="4"/>
                  </a:lnTo>
                  <a:lnTo>
                    <a:pt x="1012" y="0"/>
                  </a:lnTo>
                  <a:lnTo>
                    <a:pt x="1022" y="0"/>
                  </a:lnTo>
                  <a:lnTo>
                    <a:pt x="1022" y="0"/>
                  </a:lnTo>
                  <a:lnTo>
                    <a:pt x="1032" y="0"/>
                  </a:lnTo>
                  <a:lnTo>
                    <a:pt x="1042" y="4"/>
                  </a:lnTo>
                  <a:lnTo>
                    <a:pt x="1052" y="8"/>
                  </a:lnTo>
                  <a:lnTo>
                    <a:pt x="1060" y="14"/>
                  </a:lnTo>
                  <a:lnTo>
                    <a:pt x="1066" y="22"/>
                  </a:lnTo>
                  <a:lnTo>
                    <a:pt x="1070" y="32"/>
                  </a:lnTo>
                  <a:lnTo>
                    <a:pt x="1074" y="42"/>
                  </a:lnTo>
                  <a:lnTo>
                    <a:pt x="1074" y="52"/>
                  </a:lnTo>
                  <a:lnTo>
                    <a:pt x="1074" y="52"/>
                  </a:lnTo>
                  <a:lnTo>
                    <a:pt x="1076" y="60"/>
                  </a:lnTo>
                  <a:lnTo>
                    <a:pt x="1076" y="60"/>
                  </a:lnTo>
                  <a:lnTo>
                    <a:pt x="1082" y="60"/>
                  </a:lnTo>
                  <a:lnTo>
                    <a:pt x="1314" y="60"/>
                  </a:lnTo>
                  <a:lnTo>
                    <a:pt x="1314" y="60"/>
                  </a:lnTo>
                  <a:lnTo>
                    <a:pt x="1328" y="60"/>
                  </a:lnTo>
                  <a:lnTo>
                    <a:pt x="1340" y="62"/>
                  </a:lnTo>
                  <a:lnTo>
                    <a:pt x="1356" y="64"/>
                  </a:lnTo>
                  <a:lnTo>
                    <a:pt x="1374" y="70"/>
                  </a:lnTo>
                  <a:lnTo>
                    <a:pt x="1394" y="78"/>
                  </a:lnTo>
                  <a:lnTo>
                    <a:pt x="1412" y="88"/>
                  </a:lnTo>
                  <a:lnTo>
                    <a:pt x="1432" y="104"/>
                  </a:lnTo>
                  <a:lnTo>
                    <a:pt x="1432" y="104"/>
                  </a:lnTo>
                  <a:lnTo>
                    <a:pt x="1440" y="112"/>
                  </a:lnTo>
                  <a:lnTo>
                    <a:pt x="1448" y="122"/>
                  </a:lnTo>
                  <a:lnTo>
                    <a:pt x="1456" y="134"/>
                  </a:lnTo>
                  <a:lnTo>
                    <a:pt x="1464" y="148"/>
                  </a:lnTo>
                  <a:lnTo>
                    <a:pt x="1470" y="164"/>
                  </a:lnTo>
                  <a:lnTo>
                    <a:pt x="1474" y="182"/>
                  </a:lnTo>
                  <a:lnTo>
                    <a:pt x="1478" y="202"/>
                  </a:lnTo>
                  <a:lnTo>
                    <a:pt x="1478" y="226"/>
                  </a:lnTo>
                  <a:lnTo>
                    <a:pt x="1478" y="226"/>
                  </a:lnTo>
                  <a:lnTo>
                    <a:pt x="1478" y="250"/>
                  </a:lnTo>
                  <a:lnTo>
                    <a:pt x="1474" y="272"/>
                  </a:lnTo>
                  <a:lnTo>
                    <a:pt x="1468" y="292"/>
                  </a:lnTo>
                  <a:lnTo>
                    <a:pt x="1460" y="310"/>
                  </a:lnTo>
                  <a:lnTo>
                    <a:pt x="1450" y="326"/>
                  </a:lnTo>
                  <a:lnTo>
                    <a:pt x="1440" y="340"/>
                  </a:lnTo>
                  <a:lnTo>
                    <a:pt x="1426" y="352"/>
                  </a:lnTo>
                  <a:lnTo>
                    <a:pt x="1414" y="364"/>
                  </a:lnTo>
                  <a:lnTo>
                    <a:pt x="1400" y="374"/>
                  </a:lnTo>
                  <a:lnTo>
                    <a:pt x="1386" y="382"/>
                  </a:lnTo>
                  <a:lnTo>
                    <a:pt x="1370" y="388"/>
                  </a:lnTo>
                  <a:lnTo>
                    <a:pt x="1356" y="394"/>
                  </a:lnTo>
                  <a:lnTo>
                    <a:pt x="1328" y="402"/>
                  </a:lnTo>
                  <a:lnTo>
                    <a:pt x="1302" y="406"/>
                  </a:lnTo>
                  <a:lnTo>
                    <a:pt x="52"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13" name="Freeform 15"/>
            <p:cNvSpPr>
              <a:spLocks noEditPoints="1"/>
            </p:cNvSpPr>
            <p:nvPr/>
          </p:nvSpPr>
          <p:spPr bwMode="auto">
            <a:xfrm>
              <a:off x="6892717" y="3505013"/>
              <a:ext cx="208337" cy="208337"/>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14" name="Freeform 18"/>
            <p:cNvSpPr>
              <a:spLocks/>
            </p:cNvSpPr>
            <p:nvPr/>
          </p:nvSpPr>
          <p:spPr bwMode="auto">
            <a:xfrm>
              <a:off x="6965393" y="3268818"/>
              <a:ext cx="64197" cy="213182"/>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15" name="Freeform 19"/>
            <p:cNvSpPr>
              <a:spLocks noEditPoints="1"/>
            </p:cNvSpPr>
            <p:nvPr/>
          </p:nvSpPr>
          <p:spPr bwMode="auto">
            <a:xfrm>
              <a:off x="5077386" y="3609182"/>
              <a:ext cx="186534" cy="185323"/>
            </a:xfrm>
            <a:custGeom>
              <a:avLst/>
              <a:gdLst>
                <a:gd name="T0" fmla="*/ 154 w 308"/>
                <a:gd name="T1" fmla="*/ 306 h 306"/>
                <a:gd name="T2" fmla="*/ 124 w 308"/>
                <a:gd name="T3" fmla="*/ 304 h 306"/>
                <a:gd name="T4" fmla="*/ 94 w 308"/>
                <a:gd name="T5" fmla="*/ 294 h 306"/>
                <a:gd name="T6" fmla="*/ 68 w 308"/>
                <a:gd name="T7" fmla="*/ 280 h 306"/>
                <a:gd name="T8" fmla="*/ 46 w 308"/>
                <a:gd name="T9" fmla="*/ 262 h 306"/>
                <a:gd name="T10" fmla="*/ 26 w 308"/>
                <a:gd name="T11" fmla="*/ 240 h 306"/>
                <a:gd name="T12" fmla="*/ 12 w 308"/>
                <a:gd name="T13" fmla="*/ 212 h 306"/>
                <a:gd name="T14" fmla="*/ 4 w 308"/>
                <a:gd name="T15" fmla="*/ 184 h 306"/>
                <a:gd name="T16" fmla="*/ 0 w 308"/>
                <a:gd name="T17" fmla="*/ 154 h 306"/>
                <a:gd name="T18" fmla="*/ 2 w 308"/>
                <a:gd name="T19" fmla="*/ 138 h 306"/>
                <a:gd name="T20" fmla="*/ 8 w 308"/>
                <a:gd name="T21" fmla="*/ 108 h 306"/>
                <a:gd name="T22" fmla="*/ 20 w 308"/>
                <a:gd name="T23" fmla="*/ 80 h 306"/>
                <a:gd name="T24" fmla="*/ 36 w 308"/>
                <a:gd name="T25" fmla="*/ 56 h 306"/>
                <a:gd name="T26" fmla="*/ 56 w 308"/>
                <a:gd name="T27" fmla="*/ 34 h 306"/>
                <a:gd name="T28" fmla="*/ 82 w 308"/>
                <a:gd name="T29" fmla="*/ 18 h 306"/>
                <a:gd name="T30" fmla="*/ 108 w 308"/>
                <a:gd name="T31" fmla="*/ 6 h 306"/>
                <a:gd name="T32" fmla="*/ 138 w 308"/>
                <a:gd name="T33" fmla="*/ 0 h 306"/>
                <a:gd name="T34" fmla="*/ 154 w 308"/>
                <a:gd name="T35" fmla="*/ 0 h 306"/>
                <a:gd name="T36" fmla="*/ 186 w 308"/>
                <a:gd name="T37" fmla="*/ 2 h 306"/>
                <a:gd name="T38" fmla="*/ 214 w 308"/>
                <a:gd name="T39" fmla="*/ 12 h 306"/>
                <a:gd name="T40" fmla="*/ 240 w 308"/>
                <a:gd name="T41" fmla="*/ 26 h 306"/>
                <a:gd name="T42" fmla="*/ 262 w 308"/>
                <a:gd name="T43" fmla="*/ 44 h 306"/>
                <a:gd name="T44" fmla="*/ 282 w 308"/>
                <a:gd name="T45" fmla="*/ 68 h 306"/>
                <a:gd name="T46" fmla="*/ 296 w 308"/>
                <a:gd name="T47" fmla="*/ 94 h 306"/>
                <a:gd name="T48" fmla="*/ 304 w 308"/>
                <a:gd name="T49" fmla="*/ 122 h 306"/>
                <a:gd name="T50" fmla="*/ 308 w 308"/>
                <a:gd name="T51" fmla="*/ 154 h 306"/>
                <a:gd name="T52" fmla="*/ 308 w 308"/>
                <a:gd name="T53" fmla="*/ 168 h 306"/>
                <a:gd name="T54" fmla="*/ 302 w 308"/>
                <a:gd name="T55" fmla="*/ 198 h 306"/>
                <a:gd name="T56" fmla="*/ 290 w 308"/>
                <a:gd name="T57" fmla="*/ 226 h 306"/>
                <a:gd name="T58" fmla="*/ 272 w 308"/>
                <a:gd name="T59" fmla="*/ 250 h 306"/>
                <a:gd name="T60" fmla="*/ 252 w 308"/>
                <a:gd name="T61" fmla="*/ 272 h 306"/>
                <a:gd name="T62" fmla="*/ 228 w 308"/>
                <a:gd name="T63" fmla="*/ 288 h 306"/>
                <a:gd name="T64" fmla="*/ 200 w 308"/>
                <a:gd name="T65" fmla="*/ 300 h 306"/>
                <a:gd name="T66" fmla="*/ 170 w 308"/>
                <a:gd name="T67" fmla="*/ 306 h 306"/>
                <a:gd name="T68" fmla="*/ 154 w 308"/>
                <a:gd name="T69" fmla="*/ 306 h 306"/>
                <a:gd name="T70" fmla="*/ 154 w 308"/>
                <a:gd name="T71" fmla="*/ 104 h 306"/>
                <a:gd name="T72" fmla="*/ 136 w 308"/>
                <a:gd name="T73" fmla="*/ 108 h 306"/>
                <a:gd name="T74" fmla="*/ 120 w 308"/>
                <a:gd name="T75" fmla="*/ 118 h 306"/>
                <a:gd name="T76" fmla="*/ 110 w 308"/>
                <a:gd name="T77" fmla="*/ 134 h 306"/>
                <a:gd name="T78" fmla="*/ 106 w 308"/>
                <a:gd name="T79" fmla="*/ 154 h 306"/>
                <a:gd name="T80" fmla="*/ 106 w 308"/>
                <a:gd name="T81" fmla="*/ 164 h 306"/>
                <a:gd name="T82" fmla="*/ 114 w 308"/>
                <a:gd name="T83" fmla="*/ 180 h 306"/>
                <a:gd name="T84" fmla="*/ 128 w 308"/>
                <a:gd name="T85" fmla="*/ 194 h 306"/>
                <a:gd name="T86" fmla="*/ 144 w 308"/>
                <a:gd name="T87" fmla="*/ 200 h 306"/>
                <a:gd name="T88" fmla="*/ 154 w 308"/>
                <a:gd name="T89" fmla="*/ 202 h 306"/>
                <a:gd name="T90" fmla="*/ 174 w 308"/>
                <a:gd name="T91" fmla="*/ 198 h 306"/>
                <a:gd name="T92" fmla="*/ 188 w 308"/>
                <a:gd name="T93" fmla="*/ 188 h 306"/>
                <a:gd name="T94" fmla="*/ 200 w 308"/>
                <a:gd name="T95" fmla="*/ 172 h 306"/>
                <a:gd name="T96" fmla="*/ 202 w 308"/>
                <a:gd name="T97" fmla="*/ 154 h 306"/>
                <a:gd name="T98" fmla="*/ 202 w 308"/>
                <a:gd name="T99" fmla="*/ 144 h 306"/>
                <a:gd name="T100" fmla="*/ 194 w 308"/>
                <a:gd name="T101" fmla="*/ 126 h 306"/>
                <a:gd name="T102" fmla="*/ 182 w 308"/>
                <a:gd name="T103" fmla="*/ 112 h 306"/>
                <a:gd name="T104" fmla="*/ 164 w 308"/>
                <a:gd name="T105" fmla="*/ 106 h 306"/>
                <a:gd name="T106" fmla="*/ 154 w 308"/>
                <a:gd name="T107" fmla="*/ 10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6">
                  <a:moveTo>
                    <a:pt x="154" y="306"/>
                  </a:moveTo>
                  <a:lnTo>
                    <a:pt x="154" y="306"/>
                  </a:lnTo>
                  <a:lnTo>
                    <a:pt x="138" y="306"/>
                  </a:lnTo>
                  <a:lnTo>
                    <a:pt x="124" y="304"/>
                  </a:lnTo>
                  <a:lnTo>
                    <a:pt x="108" y="300"/>
                  </a:lnTo>
                  <a:lnTo>
                    <a:pt x="94" y="294"/>
                  </a:lnTo>
                  <a:lnTo>
                    <a:pt x="82" y="288"/>
                  </a:lnTo>
                  <a:lnTo>
                    <a:pt x="68" y="280"/>
                  </a:lnTo>
                  <a:lnTo>
                    <a:pt x="56" y="272"/>
                  </a:lnTo>
                  <a:lnTo>
                    <a:pt x="46" y="262"/>
                  </a:lnTo>
                  <a:lnTo>
                    <a:pt x="36" y="250"/>
                  </a:lnTo>
                  <a:lnTo>
                    <a:pt x="26" y="240"/>
                  </a:lnTo>
                  <a:lnTo>
                    <a:pt x="20" y="226"/>
                  </a:lnTo>
                  <a:lnTo>
                    <a:pt x="12" y="212"/>
                  </a:lnTo>
                  <a:lnTo>
                    <a:pt x="8" y="198"/>
                  </a:lnTo>
                  <a:lnTo>
                    <a:pt x="4" y="184"/>
                  </a:lnTo>
                  <a:lnTo>
                    <a:pt x="2" y="168"/>
                  </a:lnTo>
                  <a:lnTo>
                    <a:pt x="0" y="154"/>
                  </a:lnTo>
                  <a:lnTo>
                    <a:pt x="0" y="154"/>
                  </a:lnTo>
                  <a:lnTo>
                    <a:pt x="2" y="138"/>
                  </a:lnTo>
                  <a:lnTo>
                    <a:pt x="4" y="122"/>
                  </a:lnTo>
                  <a:lnTo>
                    <a:pt x="8" y="108"/>
                  </a:lnTo>
                  <a:lnTo>
                    <a:pt x="12" y="94"/>
                  </a:lnTo>
                  <a:lnTo>
                    <a:pt x="20" y="80"/>
                  </a:lnTo>
                  <a:lnTo>
                    <a:pt x="26" y="68"/>
                  </a:lnTo>
                  <a:lnTo>
                    <a:pt x="36" y="56"/>
                  </a:lnTo>
                  <a:lnTo>
                    <a:pt x="46" y="44"/>
                  </a:lnTo>
                  <a:lnTo>
                    <a:pt x="56" y="34"/>
                  </a:lnTo>
                  <a:lnTo>
                    <a:pt x="68" y="26"/>
                  </a:lnTo>
                  <a:lnTo>
                    <a:pt x="82" y="18"/>
                  </a:lnTo>
                  <a:lnTo>
                    <a:pt x="94" y="12"/>
                  </a:lnTo>
                  <a:lnTo>
                    <a:pt x="108" y="6"/>
                  </a:lnTo>
                  <a:lnTo>
                    <a:pt x="124" y="2"/>
                  </a:lnTo>
                  <a:lnTo>
                    <a:pt x="138" y="0"/>
                  </a:lnTo>
                  <a:lnTo>
                    <a:pt x="154" y="0"/>
                  </a:lnTo>
                  <a:lnTo>
                    <a:pt x="154" y="0"/>
                  </a:lnTo>
                  <a:lnTo>
                    <a:pt x="170" y="0"/>
                  </a:lnTo>
                  <a:lnTo>
                    <a:pt x="186" y="2"/>
                  </a:lnTo>
                  <a:lnTo>
                    <a:pt x="200" y="6"/>
                  </a:lnTo>
                  <a:lnTo>
                    <a:pt x="214" y="12"/>
                  </a:lnTo>
                  <a:lnTo>
                    <a:pt x="228" y="18"/>
                  </a:lnTo>
                  <a:lnTo>
                    <a:pt x="240" y="26"/>
                  </a:lnTo>
                  <a:lnTo>
                    <a:pt x="252" y="34"/>
                  </a:lnTo>
                  <a:lnTo>
                    <a:pt x="262" y="44"/>
                  </a:lnTo>
                  <a:lnTo>
                    <a:pt x="272" y="56"/>
                  </a:lnTo>
                  <a:lnTo>
                    <a:pt x="282" y="68"/>
                  </a:lnTo>
                  <a:lnTo>
                    <a:pt x="290" y="80"/>
                  </a:lnTo>
                  <a:lnTo>
                    <a:pt x="296" y="94"/>
                  </a:lnTo>
                  <a:lnTo>
                    <a:pt x="302" y="108"/>
                  </a:lnTo>
                  <a:lnTo>
                    <a:pt x="304" y="122"/>
                  </a:lnTo>
                  <a:lnTo>
                    <a:pt x="308" y="138"/>
                  </a:lnTo>
                  <a:lnTo>
                    <a:pt x="308" y="154"/>
                  </a:lnTo>
                  <a:lnTo>
                    <a:pt x="308" y="154"/>
                  </a:lnTo>
                  <a:lnTo>
                    <a:pt x="308" y="168"/>
                  </a:lnTo>
                  <a:lnTo>
                    <a:pt x="304" y="184"/>
                  </a:lnTo>
                  <a:lnTo>
                    <a:pt x="302" y="198"/>
                  </a:lnTo>
                  <a:lnTo>
                    <a:pt x="296" y="212"/>
                  </a:lnTo>
                  <a:lnTo>
                    <a:pt x="290" y="226"/>
                  </a:lnTo>
                  <a:lnTo>
                    <a:pt x="282" y="240"/>
                  </a:lnTo>
                  <a:lnTo>
                    <a:pt x="272" y="250"/>
                  </a:lnTo>
                  <a:lnTo>
                    <a:pt x="262" y="262"/>
                  </a:lnTo>
                  <a:lnTo>
                    <a:pt x="252" y="272"/>
                  </a:lnTo>
                  <a:lnTo>
                    <a:pt x="240" y="280"/>
                  </a:lnTo>
                  <a:lnTo>
                    <a:pt x="228" y="288"/>
                  </a:lnTo>
                  <a:lnTo>
                    <a:pt x="214" y="294"/>
                  </a:lnTo>
                  <a:lnTo>
                    <a:pt x="200" y="300"/>
                  </a:lnTo>
                  <a:lnTo>
                    <a:pt x="186" y="304"/>
                  </a:lnTo>
                  <a:lnTo>
                    <a:pt x="170" y="306"/>
                  </a:lnTo>
                  <a:lnTo>
                    <a:pt x="154" y="306"/>
                  </a:lnTo>
                  <a:lnTo>
                    <a:pt x="154" y="306"/>
                  </a:lnTo>
                  <a:close/>
                  <a:moveTo>
                    <a:pt x="154" y="104"/>
                  </a:moveTo>
                  <a:lnTo>
                    <a:pt x="154" y="104"/>
                  </a:lnTo>
                  <a:lnTo>
                    <a:pt x="144" y="106"/>
                  </a:lnTo>
                  <a:lnTo>
                    <a:pt x="136" y="108"/>
                  </a:lnTo>
                  <a:lnTo>
                    <a:pt x="128" y="112"/>
                  </a:lnTo>
                  <a:lnTo>
                    <a:pt x="120" y="118"/>
                  </a:lnTo>
                  <a:lnTo>
                    <a:pt x="114" y="126"/>
                  </a:lnTo>
                  <a:lnTo>
                    <a:pt x="110" y="134"/>
                  </a:lnTo>
                  <a:lnTo>
                    <a:pt x="106" y="144"/>
                  </a:lnTo>
                  <a:lnTo>
                    <a:pt x="106" y="154"/>
                  </a:lnTo>
                  <a:lnTo>
                    <a:pt x="106" y="154"/>
                  </a:lnTo>
                  <a:lnTo>
                    <a:pt x="106" y="164"/>
                  </a:lnTo>
                  <a:lnTo>
                    <a:pt x="110" y="172"/>
                  </a:lnTo>
                  <a:lnTo>
                    <a:pt x="114" y="180"/>
                  </a:lnTo>
                  <a:lnTo>
                    <a:pt x="120" y="188"/>
                  </a:lnTo>
                  <a:lnTo>
                    <a:pt x="128" y="194"/>
                  </a:lnTo>
                  <a:lnTo>
                    <a:pt x="136" y="198"/>
                  </a:lnTo>
                  <a:lnTo>
                    <a:pt x="144" y="200"/>
                  </a:lnTo>
                  <a:lnTo>
                    <a:pt x="154" y="202"/>
                  </a:lnTo>
                  <a:lnTo>
                    <a:pt x="154" y="202"/>
                  </a:lnTo>
                  <a:lnTo>
                    <a:pt x="164" y="200"/>
                  </a:lnTo>
                  <a:lnTo>
                    <a:pt x="174" y="198"/>
                  </a:lnTo>
                  <a:lnTo>
                    <a:pt x="182" y="194"/>
                  </a:lnTo>
                  <a:lnTo>
                    <a:pt x="188" y="188"/>
                  </a:lnTo>
                  <a:lnTo>
                    <a:pt x="194" y="180"/>
                  </a:lnTo>
                  <a:lnTo>
                    <a:pt x="200" y="172"/>
                  </a:lnTo>
                  <a:lnTo>
                    <a:pt x="202" y="164"/>
                  </a:lnTo>
                  <a:lnTo>
                    <a:pt x="202" y="154"/>
                  </a:lnTo>
                  <a:lnTo>
                    <a:pt x="202" y="154"/>
                  </a:lnTo>
                  <a:lnTo>
                    <a:pt x="202" y="144"/>
                  </a:lnTo>
                  <a:lnTo>
                    <a:pt x="200" y="134"/>
                  </a:lnTo>
                  <a:lnTo>
                    <a:pt x="194" y="126"/>
                  </a:lnTo>
                  <a:lnTo>
                    <a:pt x="188" y="118"/>
                  </a:lnTo>
                  <a:lnTo>
                    <a:pt x="182" y="112"/>
                  </a:lnTo>
                  <a:lnTo>
                    <a:pt x="174"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16" name="Freeform 20"/>
            <p:cNvSpPr>
              <a:spLocks noEditPoints="1"/>
            </p:cNvSpPr>
            <p:nvPr/>
          </p:nvSpPr>
          <p:spPr bwMode="auto">
            <a:xfrm>
              <a:off x="7250039" y="2854566"/>
              <a:ext cx="186534" cy="186534"/>
            </a:xfrm>
            <a:custGeom>
              <a:avLst/>
              <a:gdLst>
                <a:gd name="T0" fmla="*/ 154 w 308"/>
                <a:gd name="T1" fmla="*/ 308 h 308"/>
                <a:gd name="T2" fmla="*/ 122 w 308"/>
                <a:gd name="T3" fmla="*/ 304 h 308"/>
                <a:gd name="T4" fmla="*/ 94 w 308"/>
                <a:gd name="T5" fmla="*/ 296 h 308"/>
                <a:gd name="T6" fmla="*/ 68 w 308"/>
                <a:gd name="T7" fmla="*/ 282 h 308"/>
                <a:gd name="T8" fmla="*/ 44 w 308"/>
                <a:gd name="T9" fmla="*/ 262 h 308"/>
                <a:gd name="T10" fmla="*/ 26 w 308"/>
                <a:gd name="T11" fmla="*/ 240 h 308"/>
                <a:gd name="T12" fmla="*/ 12 w 308"/>
                <a:gd name="T13" fmla="*/ 214 h 308"/>
                <a:gd name="T14" fmla="*/ 2 w 308"/>
                <a:gd name="T15" fmla="*/ 184 h 308"/>
                <a:gd name="T16" fmla="*/ 0 w 308"/>
                <a:gd name="T17" fmla="*/ 154 h 308"/>
                <a:gd name="T18" fmla="*/ 0 w 308"/>
                <a:gd name="T19" fmla="*/ 138 h 308"/>
                <a:gd name="T20" fmla="*/ 6 w 308"/>
                <a:gd name="T21" fmla="*/ 108 h 308"/>
                <a:gd name="T22" fmla="*/ 18 w 308"/>
                <a:gd name="T23" fmla="*/ 80 h 308"/>
                <a:gd name="T24" fmla="*/ 34 w 308"/>
                <a:gd name="T25" fmla="*/ 56 h 308"/>
                <a:gd name="T26" fmla="*/ 56 w 308"/>
                <a:gd name="T27" fmla="*/ 36 h 308"/>
                <a:gd name="T28" fmla="*/ 80 w 308"/>
                <a:gd name="T29" fmla="*/ 18 h 308"/>
                <a:gd name="T30" fmla="*/ 108 w 308"/>
                <a:gd name="T31" fmla="*/ 6 h 308"/>
                <a:gd name="T32" fmla="*/ 138 w 308"/>
                <a:gd name="T33" fmla="*/ 0 h 308"/>
                <a:gd name="T34" fmla="*/ 154 w 308"/>
                <a:gd name="T35" fmla="*/ 0 h 308"/>
                <a:gd name="T36" fmla="*/ 184 w 308"/>
                <a:gd name="T37" fmla="*/ 4 h 308"/>
                <a:gd name="T38" fmla="*/ 214 w 308"/>
                <a:gd name="T39" fmla="*/ 12 h 308"/>
                <a:gd name="T40" fmla="*/ 240 w 308"/>
                <a:gd name="T41" fmla="*/ 26 h 308"/>
                <a:gd name="T42" fmla="*/ 262 w 308"/>
                <a:gd name="T43" fmla="*/ 46 h 308"/>
                <a:gd name="T44" fmla="*/ 280 w 308"/>
                <a:gd name="T45" fmla="*/ 68 h 308"/>
                <a:gd name="T46" fmla="*/ 294 w 308"/>
                <a:gd name="T47" fmla="*/ 94 h 308"/>
                <a:gd name="T48" fmla="*/ 304 w 308"/>
                <a:gd name="T49" fmla="*/ 122 h 308"/>
                <a:gd name="T50" fmla="*/ 308 w 308"/>
                <a:gd name="T51" fmla="*/ 154 h 308"/>
                <a:gd name="T52" fmla="*/ 306 w 308"/>
                <a:gd name="T53" fmla="*/ 170 h 308"/>
                <a:gd name="T54" fmla="*/ 300 w 308"/>
                <a:gd name="T55" fmla="*/ 200 h 308"/>
                <a:gd name="T56" fmla="*/ 288 w 308"/>
                <a:gd name="T57" fmla="*/ 226 h 308"/>
                <a:gd name="T58" fmla="*/ 272 w 308"/>
                <a:gd name="T59" fmla="*/ 252 h 308"/>
                <a:gd name="T60" fmla="*/ 252 w 308"/>
                <a:gd name="T61" fmla="*/ 272 h 308"/>
                <a:gd name="T62" fmla="*/ 226 w 308"/>
                <a:gd name="T63" fmla="*/ 288 h 308"/>
                <a:gd name="T64" fmla="*/ 200 w 308"/>
                <a:gd name="T65" fmla="*/ 300 h 308"/>
                <a:gd name="T66" fmla="*/ 170 w 308"/>
                <a:gd name="T67" fmla="*/ 306 h 308"/>
                <a:gd name="T68" fmla="*/ 154 w 308"/>
                <a:gd name="T69" fmla="*/ 308 h 308"/>
                <a:gd name="T70" fmla="*/ 154 w 308"/>
                <a:gd name="T71" fmla="*/ 104 h 308"/>
                <a:gd name="T72" fmla="*/ 134 w 308"/>
                <a:gd name="T73" fmla="*/ 108 h 308"/>
                <a:gd name="T74" fmla="*/ 120 w 308"/>
                <a:gd name="T75" fmla="*/ 120 h 308"/>
                <a:gd name="T76" fmla="*/ 108 w 308"/>
                <a:gd name="T77" fmla="*/ 134 h 308"/>
                <a:gd name="T78" fmla="*/ 104 w 308"/>
                <a:gd name="T79" fmla="*/ 154 h 308"/>
                <a:gd name="T80" fmla="*/ 106 w 308"/>
                <a:gd name="T81" fmla="*/ 164 h 308"/>
                <a:gd name="T82" fmla="*/ 114 w 308"/>
                <a:gd name="T83" fmla="*/ 180 h 308"/>
                <a:gd name="T84" fmla="*/ 126 w 308"/>
                <a:gd name="T85" fmla="*/ 194 h 308"/>
                <a:gd name="T86" fmla="*/ 144 w 308"/>
                <a:gd name="T87" fmla="*/ 202 h 308"/>
                <a:gd name="T88" fmla="*/ 154 w 308"/>
                <a:gd name="T89" fmla="*/ 202 h 308"/>
                <a:gd name="T90" fmla="*/ 172 w 308"/>
                <a:gd name="T91" fmla="*/ 198 h 308"/>
                <a:gd name="T92" fmla="*/ 188 w 308"/>
                <a:gd name="T93" fmla="*/ 188 h 308"/>
                <a:gd name="T94" fmla="*/ 198 w 308"/>
                <a:gd name="T95" fmla="*/ 172 h 308"/>
                <a:gd name="T96" fmla="*/ 202 w 308"/>
                <a:gd name="T97" fmla="*/ 154 h 308"/>
                <a:gd name="T98" fmla="*/ 202 w 308"/>
                <a:gd name="T99" fmla="*/ 144 h 308"/>
                <a:gd name="T100" fmla="*/ 194 w 308"/>
                <a:gd name="T101" fmla="*/ 126 h 308"/>
                <a:gd name="T102" fmla="*/ 180 w 308"/>
                <a:gd name="T103" fmla="*/ 114 h 308"/>
                <a:gd name="T104" fmla="*/ 164 w 308"/>
                <a:gd name="T105" fmla="*/ 106 h 308"/>
                <a:gd name="T106" fmla="*/ 154 w 308"/>
                <a:gd name="T107" fmla="*/ 1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8">
                  <a:moveTo>
                    <a:pt x="154" y="308"/>
                  </a:moveTo>
                  <a:lnTo>
                    <a:pt x="154" y="308"/>
                  </a:lnTo>
                  <a:lnTo>
                    <a:pt x="138" y="306"/>
                  </a:lnTo>
                  <a:lnTo>
                    <a:pt x="122" y="304"/>
                  </a:lnTo>
                  <a:lnTo>
                    <a:pt x="108" y="300"/>
                  </a:lnTo>
                  <a:lnTo>
                    <a:pt x="94" y="296"/>
                  </a:lnTo>
                  <a:lnTo>
                    <a:pt x="80" y="288"/>
                  </a:lnTo>
                  <a:lnTo>
                    <a:pt x="68" y="282"/>
                  </a:lnTo>
                  <a:lnTo>
                    <a:pt x="56" y="272"/>
                  </a:lnTo>
                  <a:lnTo>
                    <a:pt x="44" y="262"/>
                  </a:lnTo>
                  <a:lnTo>
                    <a:pt x="34" y="252"/>
                  </a:lnTo>
                  <a:lnTo>
                    <a:pt x="26" y="240"/>
                  </a:lnTo>
                  <a:lnTo>
                    <a:pt x="18" y="226"/>
                  </a:lnTo>
                  <a:lnTo>
                    <a:pt x="12" y="214"/>
                  </a:lnTo>
                  <a:lnTo>
                    <a:pt x="6" y="200"/>
                  </a:lnTo>
                  <a:lnTo>
                    <a:pt x="2" y="184"/>
                  </a:lnTo>
                  <a:lnTo>
                    <a:pt x="0" y="170"/>
                  </a:lnTo>
                  <a:lnTo>
                    <a:pt x="0" y="154"/>
                  </a:lnTo>
                  <a:lnTo>
                    <a:pt x="0" y="154"/>
                  </a:lnTo>
                  <a:lnTo>
                    <a:pt x="0" y="138"/>
                  </a:lnTo>
                  <a:lnTo>
                    <a:pt x="2" y="122"/>
                  </a:lnTo>
                  <a:lnTo>
                    <a:pt x="6" y="108"/>
                  </a:lnTo>
                  <a:lnTo>
                    <a:pt x="12" y="94"/>
                  </a:lnTo>
                  <a:lnTo>
                    <a:pt x="18" y="80"/>
                  </a:lnTo>
                  <a:lnTo>
                    <a:pt x="26" y="68"/>
                  </a:lnTo>
                  <a:lnTo>
                    <a:pt x="34" y="56"/>
                  </a:lnTo>
                  <a:lnTo>
                    <a:pt x="44" y="46"/>
                  </a:lnTo>
                  <a:lnTo>
                    <a:pt x="56" y="36"/>
                  </a:lnTo>
                  <a:lnTo>
                    <a:pt x="68" y="26"/>
                  </a:lnTo>
                  <a:lnTo>
                    <a:pt x="80" y="18"/>
                  </a:lnTo>
                  <a:lnTo>
                    <a:pt x="94" y="12"/>
                  </a:lnTo>
                  <a:lnTo>
                    <a:pt x="108" y="6"/>
                  </a:lnTo>
                  <a:lnTo>
                    <a:pt x="122" y="4"/>
                  </a:lnTo>
                  <a:lnTo>
                    <a:pt x="138" y="0"/>
                  </a:lnTo>
                  <a:lnTo>
                    <a:pt x="154" y="0"/>
                  </a:lnTo>
                  <a:lnTo>
                    <a:pt x="154" y="0"/>
                  </a:lnTo>
                  <a:lnTo>
                    <a:pt x="170" y="0"/>
                  </a:lnTo>
                  <a:lnTo>
                    <a:pt x="184" y="4"/>
                  </a:lnTo>
                  <a:lnTo>
                    <a:pt x="200" y="6"/>
                  </a:lnTo>
                  <a:lnTo>
                    <a:pt x="214" y="12"/>
                  </a:lnTo>
                  <a:lnTo>
                    <a:pt x="226" y="18"/>
                  </a:lnTo>
                  <a:lnTo>
                    <a:pt x="240" y="26"/>
                  </a:lnTo>
                  <a:lnTo>
                    <a:pt x="252" y="36"/>
                  </a:lnTo>
                  <a:lnTo>
                    <a:pt x="262" y="46"/>
                  </a:lnTo>
                  <a:lnTo>
                    <a:pt x="272" y="56"/>
                  </a:lnTo>
                  <a:lnTo>
                    <a:pt x="280" y="68"/>
                  </a:lnTo>
                  <a:lnTo>
                    <a:pt x="288" y="80"/>
                  </a:lnTo>
                  <a:lnTo>
                    <a:pt x="294" y="94"/>
                  </a:lnTo>
                  <a:lnTo>
                    <a:pt x="300" y="108"/>
                  </a:lnTo>
                  <a:lnTo>
                    <a:pt x="304" y="122"/>
                  </a:lnTo>
                  <a:lnTo>
                    <a:pt x="306" y="138"/>
                  </a:lnTo>
                  <a:lnTo>
                    <a:pt x="308" y="154"/>
                  </a:lnTo>
                  <a:lnTo>
                    <a:pt x="308" y="154"/>
                  </a:lnTo>
                  <a:lnTo>
                    <a:pt x="306" y="170"/>
                  </a:lnTo>
                  <a:lnTo>
                    <a:pt x="304" y="184"/>
                  </a:lnTo>
                  <a:lnTo>
                    <a:pt x="300" y="200"/>
                  </a:lnTo>
                  <a:lnTo>
                    <a:pt x="294" y="214"/>
                  </a:lnTo>
                  <a:lnTo>
                    <a:pt x="288" y="226"/>
                  </a:lnTo>
                  <a:lnTo>
                    <a:pt x="280" y="240"/>
                  </a:lnTo>
                  <a:lnTo>
                    <a:pt x="272" y="252"/>
                  </a:lnTo>
                  <a:lnTo>
                    <a:pt x="262" y="262"/>
                  </a:lnTo>
                  <a:lnTo>
                    <a:pt x="252" y="272"/>
                  </a:lnTo>
                  <a:lnTo>
                    <a:pt x="240" y="282"/>
                  </a:lnTo>
                  <a:lnTo>
                    <a:pt x="226" y="288"/>
                  </a:lnTo>
                  <a:lnTo>
                    <a:pt x="214" y="296"/>
                  </a:lnTo>
                  <a:lnTo>
                    <a:pt x="200" y="300"/>
                  </a:lnTo>
                  <a:lnTo>
                    <a:pt x="184" y="304"/>
                  </a:lnTo>
                  <a:lnTo>
                    <a:pt x="170" y="306"/>
                  </a:lnTo>
                  <a:lnTo>
                    <a:pt x="154" y="308"/>
                  </a:lnTo>
                  <a:lnTo>
                    <a:pt x="154" y="308"/>
                  </a:lnTo>
                  <a:close/>
                  <a:moveTo>
                    <a:pt x="154" y="104"/>
                  </a:moveTo>
                  <a:lnTo>
                    <a:pt x="154" y="104"/>
                  </a:lnTo>
                  <a:lnTo>
                    <a:pt x="144" y="106"/>
                  </a:lnTo>
                  <a:lnTo>
                    <a:pt x="134" y="108"/>
                  </a:lnTo>
                  <a:lnTo>
                    <a:pt x="126" y="114"/>
                  </a:lnTo>
                  <a:lnTo>
                    <a:pt x="120" y="120"/>
                  </a:lnTo>
                  <a:lnTo>
                    <a:pt x="114" y="126"/>
                  </a:lnTo>
                  <a:lnTo>
                    <a:pt x="108" y="134"/>
                  </a:lnTo>
                  <a:lnTo>
                    <a:pt x="106" y="144"/>
                  </a:lnTo>
                  <a:lnTo>
                    <a:pt x="104" y="154"/>
                  </a:lnTo>
                  <a:lnTo>
                    <a:pt x="104" y="154"/>
                  </a:lnTo>
                  <a:lnTo>
                    <a:pt x="106" y="164"/>
                  </a:lnTo>
                  <a:lnTo>
                    <a:pt x="108" y="172"/>
                  </a:lnTo>
                  <a:lnTo>
                    <a:pt x="114" y="180"/>
                  </a:lnTo>
                  <a:lnTo>
                    <a:pt x="120" y="188"/>
                  </a:lnTo>
                  <a:lnTo>
                    <a:pt x="126" y="194"/>
                  </a:lnTo>
                  <a:lnTo>
                    <a:pt x="134" y="198"/>
                  </a:lnTo>
                  <a:lnTo>
                    <a:pt x="144" y="202"/>
                  </a:lnTo>
                  <a:lnTo>
                    <a:pt x="154" y="202"/>
                  </a:lnTo>
                  <a:lnTo>
                    <a:pt x="154" y="202"/>
                  </a:lnTo>
                  <a:lnTo>
                    <a:pt x="164" y="202"/>
                  </a:lnTo>
                  <a:lnTo>
                    <a:pt x="172" y="198"/>
                  </a:lnTo>
                  <a:lnTo>
                    <a:pt x="180" y="194"/>
                  </a:lnTo>
                  <a:lnTo>
                    <a:pt x="188" y="188"/>
                  </a:lnTo>
                  <a:lnTo>
                    <a:pt x="194" y="180"/>
                  </a:lnTo>
                  <a:lnTo>
                    <a:pt x="198" y="172"/>
                  </a:lnTo>
                  <a:lnTo>
                    <a:pt x="202" y="164"/>
                  </a:lnTo>
                  <a:lnTo>
                    <a:pt x="202" y="154"/>
                  </a:lnTo>
                  <a:lnTo>
                    <a:pt x="202" y="154"/>
                  </a:lnTo>
                  <a:lnTo>
                    <a:pt x="202" y="144"/>
                  </a:lnTo>
                  <a:lnTo>
                    <a:pt x="198" y="134"/>
                  </a:lnTo>
                  <a:lnTo>
                    <a:pt x="194" y="126"/>
                  </a:lnTo>
                  <a:lnTo>
                    <a:pt x="188" y="120"/>
                  </a:lnTo>
                  <a:lnTo>
                    <a:pt x="180" y="114"/>
                  </a:lnTo>
                  <a:lnTo>
                    <a:pt x="172"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grpSp>
          <p:nvGrpSpPr>
            <p:cNvPr id="17" name="Group 16"/>
            <p:cNvGrpSpPr/>
            <p:nvPr/>
          </p:nvGrpSpPr>
          <p:grpSpPr>
            <a:xfrm>
              <a:off x="5413104" y="2621197"/>
              <a:ext cx="1326042" cy="1326043"/>
              <a:chOff x="5413104" y="2598477"/>
              <a:chExt cx="1326042" cy="1326043"/>
            </a:xfrm>
          </p:grpSpPr>
          <p:sp>
            <p:nvSpPr>
              <p:cNvPr id="18" name="Freeform 5"/>
              <p:cNvSpPr>
                <a:spLocks/>
              </p:cNvSpPr>
              <p:nvPr/>
            </p:nvSpPr>
            <p:spPr bwMode="auto">
              <a:xfrm>
                <a:off x="5642613" y="3166154"/>
                <a:ext cx="838193" cy="391237"/>
              </a:xfrm>
              <a:custGeom>
                <a:avLst/>
                <a:gdLst>
                  <a:gd name="T0" fmla="*/ 1228 w 1384"/>
                  <a:gd name="T1" fmla="*/ 646 h 646"/>
                  <a:gd name="T2" fmla="*/ 1198 w 1384"/>
                  <a:gd name="T3" fmla="*/ 636 h 646"/>
                  <a:gd name="T4" fmla="*/ 1178 w 1384"/>
                  <a:gd name="T5" fmla="*/ 614 h 646"/>
                  <a:gd name="T6" fmla="*/ 1174 w 1384"/>
                  <a:gd name="T7" fmla="*/ 106 h 646"/>
                  <a:gd name="T8" fmla="*/ 1118 w 1384"/>
                  <a:gd name="T9" fmla="*/ 594 h 646"/>
                  <a:gd name="T10" fmla="*/ 1108 w 1384"/>
                  <a:gd name="T11" fmla="*/ 622 h 646"/>
                  <a:gd name="T12" fmla="*/ 1086 w 1384"/>
                  <a:gd name="T13" fmla="*/ 642 h 646"/>
                  <a:gd name="T14" fmla="*/ 824 w 1384"/>
                  <a:gd name="T15" fmla="*/ 646 h 646"/>
                  <a:gd name="T16" fmla="*/ 804 w 1384"/>
                  <a:gd name="T17" fmla="*/ 642 h 646"/>
                  <a:gd name="T18" fmla="*/ 780 w 1384"/>
                  <a:gd name="T19" fmla="*/ 622 h 646"/>
                  <a:gd name="T20" fmla="*/ 772 w 1384"/>
                  <a:gd name="T21" fmla="*/ 594 h 646"/>
                  <a:gd name="T22" fmla="*/ 714 w 1384"/>
                  <a:gd name="T23" fmla="*/ 594 h 646"/>
                  <a:gd name="T24" fmla="*/ 710 w 1384"/>
                  <a:gd name="T25" fmla="*/ 614 h 646"/>
                  <a:gd name="T26" fmla="*/ 690 w 1384"/>
                  <a:gd name="T27" fmla="*/ 636 h 646"/>
                  <a:gd name="T28" fmla="*/ 662 w 1384"/>
                  <a:gd name="T29" fmla="*/ 646 h 646"/>
                  <a:gd name="T30" fmla="*/ 410 w 1384"/>
                  <a:gd name="T31" fmla="*/ 644 h 646"/>
                  <a:gd name="T32" fmla="*/ 384 w 1384"/>
                  <a:gd name="T33" fmla="*/ 630 h 646"/>
                  <a:gd name="T34" fmla="*/ 368 w 1384"/>
                  <a:gd name="T35" fmla="*/ 604 h 646"/>
                  <a:gd name="T36" fmla="*/ 310 w 1384"/>
                  <a:gd name="T37" fmla="*/ 322 h 646"/>
                  <a:gd name="T38" fmla="*/ 310 w 1384"/>
                  <a:gd name="T39" fmla="*/ 604 h 646"/>
                  <a:gd name="T40" fmla="*/ 296 w 1384"/>
                  <a:gd name="T41" fmla="*/ 630 h 646"/>
                  <a:gd name="T42" fmla="*/ 268 w 1384"/>
                  <a:gd name="T43" fmla="*/ 644 h 646"/>
                  <a:gd name="T44" fmla="*/ 52 w 1384"/>
                  <a:gd name="T45" fmla="*/ 646 h 646"/>
                  <a:gd name="T46" fmla="*/ 24 w 1384"/>
                  <a:gd name="T47" fmla="*/ 636 h 646"/>
                  <a:gd name="T48" fmla="*/ 4 w 1384"/>
                  <a:gd name="T49" fmla="*/ 614 h 646"/>
                  <a:gd name="T50" fmla="*/ 0 w 1384"/>
                  <a:gd name="T51" fmla="*/ 594 h 646"/>
                  <a:gd name="T52" fmla="*/ 10 w 1384"/>
                  <a:gd name="T53" fmla="*/ 564 h 646"/>
                  <a:gd name="T54" fmla="*/ 32 w 1384"/>
                  <a:gd name="T55" fmla="*/ 544 h 646"/>
                  <a:gd name="T56" fmla="*/ 206 w 1384"/>
                  <a:gd name="T57" fmla="*/ 540 h 646"/>
                  <a:gd name="T58" fmla="*/ 208 w 1384"/>
                  <a:gd name="T59" fmla="*/ 278 h 646"/>
                  <a:gd name="T60" fmla="*/ 228 w 1384"/>
                  <a:gd name="T61" fmla="*/ 240 h 646"/>
                  <a:gd name="T62" fmla="*/ 266 w 1384"/>
                  <a:gd name="T63" fmla="*/ 218 h 646"/>
                  <a:gd name="T64" fmla="*/ 398 w 1384"/>
                  <a:gd name="T65" fmla="*/ 218 h 646"/>
                  <a:gd name="T66" fmla="*/ 440 w 1384"/>
                  <a:gd name="T67" fmla="*/ 230 h 646"/>
                  <a:gd name="T68" fmla="*/ 466 w 1384"/>
                  <a:gd name="T69" fmla="*/ 264 h 646"/>
                  <a:gd name="T70" fmla="*/ 472 w 1384"/>
                  <a:gd name="T71" fmla="*/ 540 h 646"/>
                  <a:gd name="T72" fmla="*/ 608 w 1384"/>
                  <a:gd name="T73" fmla="*/ 152 h 646"/>
                  <a:gd name="T74" fmla="*/ 622 w 1384"/>
                  <a:gd name="T75" fmla="*/ 110 h 646"/>
                  <a:gd name="T76" fmla="*/ 654 w 1384"/>
                  <a:gd name="T77" fmla="*/ 82 h 646"/>
                  <a:gd name="T78" fmla="*/ 800 w 1384"/>
                  <a:gd name="T79" fmla="*/ 76 h 646"/>
                  <a:gd name="T80" fmla="*/ 830 w 1384"/>
                  <a:gd name="T81" fmla="*/ 82 h 646"/>
                  <a:gd name="T82" fmla="*/ 864 w 1384"/>
                  <a:gd name="T83" fmla="*/ 110 h 646"/>
                  <a:gd name="T84" fmla="*/ 876 w 1384"/>
                  <a:gd name="T85" fmla="*/ 152 h 646"/>
                  <a:gd name="T86" fmla="*/ 1012 w 1384"/>
                  <a:gd name="T87" fmla="*/ 76 h 646"/>
                  <a:gd name="T88" fmla="*/ 1018 w 1384"/>
                  <a:gd name="T89" fmla="*/ 46 h 646"/>
                  <a:gd name="T90" fmla="*/ 1046 w 1384"/>
                  <a:gd name="T91" fmla="*/ 12 h 646"/>
                  <a:gd name="T92" fmla="*/ 1088 w 1384"/>
                  <a:gd name="T93" fmla="*/ 0 h 646"/>
                  <a:gd name="T94" fmla="*/ 1220 w 1384"/>
                  <a:gd name="T95" fmla="*/ 2 h 646"/>
                  <a:gd name="T96" fmla="*/ 1258 w 1384"/>
                  <a:gd name="T97" fmla="*/ 22 h 646"/>
                  <a:gd name="T98" fmla="*/ 1278 w 1384"/>
                  <a:gd name="T99" fmla="*/ 60 h 646"/>
                  <a:gd name="T100" fmla="*/ 1332 w 1384"/>
                  <a:gd name="T101" fmla="*/ 540 h 646"/>
                  <a:gd name="T102" fmla="*/ 1352 w 1384"/>
                  <a:gd name="T103" fmla="*/ 544 h 646"/>
                  <a:gd name="T104" fmla="*/ 1376 w 1384"/>
                  <a:gd name="T105" fmla="*/ 564 h 646"/>
                  <a:gd name="T106" fmla="*/ 1384 w 1384"/>
                  <a:gd name="T107" fmla="*/ 594 h 646"/>
                  <a:gd name="T108" fmla="*/ 1380 w 1384"/>
                  <a:gd name="T109" fmla="*/ 614 h 646"/>
                  <a:gd name="T110" fmla="*/ 1362 w 1384"/>
                  <a:gd name="T111" fmla="*/ 636 h 646"/>
                  <a:gd name="T112" fmla="*/ 1332 w 1384"/>
                  <a:gd name="T113" fmla="*/ 646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84" h="646">
                    <a:moveTo>
                      <a:pt x="1332" y="646"/>
                    </a:moveTo>
                    <a:lnTo>
                      <a:pt x="1228" y="646"/>
                    </a:lnTo>
                    <a:lnTo>
                      <a:pt x="1228" y="646"/>
                    </a:lnTo>
                    <a:lnTo>
                      <a:pt x="1216" y="644"/>
                    </a:lnTo>
                    <a:lnTo>
                      <a:pt x="1206" y="642"/>
                    </a:lnTo>
                    <a:lnTo>
                      <a:pt x="1198" y="636"/>
                    </a:lnTo>
                    <a:lnTo>
                      <a:pt x="1190" y="630"/>
                    </a:lnTo>
                    <a:lnTo>
                      <a:pt x="1184" y="622"/>
                    </a:lnTo>
                    <a:lnTo>
                      <a:pt x="1178" y="614"/>
                    </a:lnTo>
                    <a:lnTo>
                      <a:pt x="1176" y="604"/>
                    </a:lnTo>
                    <a:lnTo>
                      <a:pt x="1174" y="594"/>
                    </a:lnTo>
                    <a:lnTo>
                      <a:pt x="1174" y="106"/>
                    </a:lnTo>
                    <a:lnTo>
                      <a:pt x="1118" y="106"/>
                    </a:lnTo>
                    <a:lnTo>
                      <a:pt x="1118" y="594"/>
                    </a:lnTo>
                    <a:lnTo>
                      <a:pt x="1118" y="594"/>
                    </a:lnTo>
                    <a:lnTo>
                      <a:pt x="1116" y="604"/>
                    </a:lnTo>
                    <a:lnTo>
                      <a:pt x="1114" y="614"/>
                    </a:lnTo>
                    <a:lnTo>
                      <a:pt x="1108" y="622"/>
                    </a:lnTo>
                    <a:lnTo>
                      <a:pt x="1102" y="630"/>
                    </a:lnTo>
                    <a:lnTo>
                      <a:pt x="1094" y="636"/>
                    </a:lnTo>
                    <a:lnTo>
                      <a:pt x="1086" y="642"/>
                    </a:lnTo>
                    <a:lnTo>
                      <a:pt x="1076" y="644"/>
                    </a:lnTo>
                    <a:lnTo>
                      <a:pt x="1064" y="646"/>
                    </a:lnTo>
                    <a:lnTo>
                      <a:pt x="824" y="646"/>
                    </a:lnTo>
                    <a:lnTo>
                      <a:pt x="824" y="646"/>
                    </a:lnTo>
                    <a:lnTo>
                      <a:pt x="814" y="644"/>
                    </a:lnTo>
                    <a:lnTo>
                      <a:pt x="804" y="642"/>
                    </a:lnTo>
                    <a:lnTo>
                      <a:pt x="794" y="636"/>
                    </a:lnTo>
                    <a:lnTo>
                      <a:pt x="786" y="630"/>
                    </a:lnTo>
                    <a:lnTo>
                      <a:pt x="780" y="622"/>
                    </a:lnTo>
                    <a:lnTo>
                      <a:pt x="776" y="614"/>
                    </a:lnTo>
                    <a:lnTo>
                      <a:pt x="772" y="604"/>
                    </a:lnTo>
                    <a:lnTo>
                      <a:pt x="772" y="594"/>
                    </a:lnTo>
                    <a:lnTo>
                      <a:pt x="772" y="182"/>
                    </a:lnTo>
                    <a:lnTo>
                      <a:pt x="714" y="182"/>
                    </a:lnTo>
                    <a:lnTo>
                      <a:pt x="714" y="594"/>
                    </a:lnTo>
                    <a:lnTo>
                      <a:pt x="714" y="594"/>
                    </a:lnTo>
                    <a:lnTo>
                      <a:pt x="712" y="604"/>
                    </a:lnTo>
                    <a:lnTo>
                      <a:pt x="710" y="614"/>
                    </a:lnTo>
                    <a:lnTo>
                      <a:pt x="706" y="622"/>
                    </a:lnTo>
                    <a:lnTo>
                      <a:pt x="698" y="630"/>
                    </a:lnTo>
                    <a:lnTo>
                      <a:pt x="690" y="636"/>
                    </a:lnTo>
                    <a:lnTo>
                      <a:pt x="682" y="642"/>
                    </a:lnTo>
                    <a:lnTo>
                      <a:pt x="672" y="644"/>
                    </a:lnTo>
                    <a:lnTo>
                      <a:pt x="662" y="646"/>
                    </a:lnTo>
                    <a:lnTo>
                      <a:pt x="420" y="646"/>
                    </a:lnTo>
                    <a:lnTo>
                      <a:pt x="420" y="646"/>
                    </a:lnTo>
                    <a:lnTo>
                      <a:pt x="410" y="644"/>
                    </a:lnTo>
                    <a:lnTo>
                      <a:pt x="400" y="642"/>
                    </a:lnTo>
                    <a:lnTo>
                      <a:pt x="390" y="636"/>
                    </a:lnTo>
                    <a:lnTo>
                      <a:pt x="384" y="630"/>
                    </a:lnTo>
                    <a:lnTo>
                      <a:pt x="376" y="622"/>
                    </a:lnTo>
                    <a:lnTo>
                      <a:pt x="372" y="614"/>
                    </a:lnTo>
                    <a:lnTo>
                      <a:pt x="368" y="604"/>
                    </a:lnTo>
                    <a:lnTo>
                      <a:pt x="368" y="594"/>
                    </a:lnTo>
                    <a:lnTo>
                      <a:pt x="368" y="322"/>
                    </a:lnTo>
                    <a:lnTo>
                      <a:pt x="310" y="322"/>
                    </a:lnTo>
                    <a:lnTo>
                      <a:pt x="310" y="594"/>
                    </a:lnTo>
                    <a:lnTo>
                      <a:pt x="310" y="594"/>
                    </a:lnTo>
                    <a:lnTo>
                      <a:pt x="310" y="604"/>
                    </a:lnTo>
                    <a:lnTo>
                      <a:pt x="306" y="614"/>
                    </a:lnTo>
                    <a:lnTo>
                      <a:pt x="302" y="622"/>
                    </a:lnTo>
                    <a:lnTo>
                      <a:pt x="296" y="630"/>
                    </a:lnTo>
                    <a:lnTo>
                      <a:pt x="288" y="636"/>
                    </a:lnTo>
                    <a:lnTo>
                      <a:pt x="278" y="642"/>
                    </a:lnTo>
                    <a:lnTo>
                      <a:pt x="268" y="644"/>
                    </a:lnTo>
                    <a:lnTo>
                      <a:pt x="258" y="646"/>
                    </a:lnTo>
                    <a:lnTo>
                      <a:pt x="52" y="646"/>
                    </a:lnTo>
                    <a:lnTo>
                      <a:pt x="52" y="646"/>
                    </a:lnTo>
                    <a:lnTo>
                      <a:pt x="42" y="644"/>
                    </a:lnTo>
                    <a:lnTo>
                      <a:pt x="32" y="642"/>
                    </a:lnTo>
                    <a:lnTo>
                      <a:pt x="24" y="636"/>
                    </a:lnTo>
                    <a:lnTo>
                      <a:pt x="16" y="630"/>
                    </a:lnTo>
                    <a:lnTo>
                      <a:pt x="10" y="622"/>
                    </a:lnTo>
                    <a:lnTo>
                      <a:pt x="4" y="614"/>
                    </a:lnTo>
                    <a:lnTo>
                      <a:pt x="2" y="604"/>
                    </a:lnTo>
                    <a:lnTo>
                      <a:pt x="0" y="594"/>
                    </a:lnTo>
                    <a:lnTo>
                      <a:pt x="0" y="594"/>
                    </a:lnTo>
                    <a:lnTo>
                      <a:pt x="2" y="582"/>
                    </a:lnTo>
                    <a:lnTo>
                      <a:pt x="4" y="572"/>
                    </a:lnTo>
                    <a:lnTo>
                      <a:pt x="10" y="564"/>
                    </a:lnTo>
                    <a:lnTo>
                      <a:pt x="16" y="556"/>
                    </a:lnTo>
                    <a:lnTo>
                      <a:pt x="24" y="550"/>
                    </a:lnTo>
                    <a:lnTo>
                      <a:pt x="32" y="544"/>
                    </a:lnTo>
                    <a:lnTo>
                      <a:pt x="42" y="542"/>
                    </a:lnTo>
                    <a:lnTo>
                      <a:pt x="52" y="540"/>
                    </a:lnTo>
                    <a:lnTo>
                      <a:pt x="206" y="540"/>
                    </a:lnTo>
                    <a:lnTo>
                      <a:pt x="206" y="292"/>
                    </a:lnTo>
                    <a:lnTo>
                      <a:pt x="206" y="292"/>
                    </a:lnTo>
                    <a:lnTo>
                      <a:pt x="208" y="278"/>
                    </a:lnTo>
                    <a:lnTo>
                      <a:pt x="212" y="264"/>
                    </a:lnTo>
                    <a:lnTo>
                      <a:pt x="218" y="250"/>
                    </a:lnTo>
                    <a:lnTo>
                      <a:pt x="228" y="240"/>
                    </a:lnTo>
                    <a:lnTo>
                      <a:pt x="238" y="230"/>
                    </a:lnTo>
                    <a:lnTo>
                      <a:pt x="252" y="224"/>
                    </a:lnTo>
                    <a:lnTo>
                      <a:pt x="266" y="218"/>
                    </a:lnTo>
                    <a:lnTo>
                      <a:pt x="280" y="218"/>
                    </a:lnTo>
                    <a:lnTo>
                      <a:pt x="398" y="218"/>
                    </a:lnTo>
                    <a:lnTo>
                      <a:pt x="398" y="218"/>
                    </a:lnTo>
                    <a:lnTo>
                      <a:pt x="412" y="218"/>
                    </a:lnTo>
                    <a:lnTo>
                      <a:pt x="426" y="224"/>
                    </a:lnTo>
                    <a:lnTo>
                      <a:pt x="440" y="230"/>
                    </a:lnTo>
                    <a:lnTo>
                      <a:pt x="450" y="240"/>
                    </a:lnTo>
                    <a:lnTo>
                      <a:pt x="460" y="250"/>
                    </a:lnTo>
                    <a:lnTo>
                      <a:pt x="466" y="264"/>
                    </a:lnTo>
                    <a:lnTo>
                      <a:pt x="472" y="278"/>
                    </a:lnTo>
                    <a:lnTo>
                      <a:pt x="472" y="292"/>
                    </a:lnTo>
                    <a:lnTo>
                      <a:pt x="472" y="540"/>
                    </a:lnTo>
                    <a:lnTo>
                      <a:pt x="608" y="540"/>
                    </a:lnTo>
                    <a:lnTo>
                      <a:pt x="608" y="152"/>
                    </a:lnTo>
                    <a:lnTo>
                      <a:pt x="608" y="152"/>
                    </a:lnTo>
                    <a:lnTo>
                      <a:pt x="610" y="136"/>
                    </a:lnTo>
                    <a:lnTo>
                      <a:pt x="614" y="122"/>
                    </a:lnTo>
                    <a:lnTo>
                      <a:pt x="622" y="110"/>
                    </a:lnTo>
                    <a:lnTo>
                      <a:pt x="632" y="98"/>
                    </a:lnTo>
                    <a:lnTo>
                      <a:pt x="642" y="90"/>
                    </a:lnTo>
                    <a:lnTo>
                      <a:pt x="654" y="82"/>
                    </a:lnTo>
                    <a:lnTo>
                      <a:pt x="668" y="78"/>
                    </a:lnTo>
                    <a:lnTo>
                      <a:pt x="684" y="76"/>
                    </a:lnTo>
                    <a:lnTo>
                      <a:pt x="800" y="76"/>
                    </a:lnTo>
                    <a:lnTo>
                      <a:pt x="800" y="76"/>
                    </a:lnTo>
                    <a:lnTo>
                      <a:pt x="816" y="78"/>
                    </a:lnTo>
                    <a:lnTo>
                      <a:pt x="830" y="82"/>
                    </a:lnTo>
                    <a:lnTo>
                      <a:pt x="842" y="90"/>
                    </a:lnTo>
                    <a:lnTo>
                      <a:pt x="854" y="98"/>
                    </a:lnTo>
                    <a:lnTo>
                      <a:pt x="864" y="110"/>
                    </a:lnTo>
                    <a:lnTo>
                      <a:pt x="870" y="122"/>
                    </a:lnTo>
                    <a:lnTo>
                      <a:pt x="874" y="136"/>
                    </a:lnTo>
                    <a:lnTo>
                      <a:pt x="876" y="152"/>
                    </a:lnTo>
                    <a:lnTo>
                      <a:pt x="876" y="540"/>
                    </a:lnTo>
                    <a:lnTo>
                      <a:pt x="1012" y="540"/>
                    </a:lnTo>
                    <a:lnTo>
                      <a:pt x="1012" y="76"/>
                    </a:lnTo>
                    <a:lnTo>
                      <a:pt x="1012" y="76"/>
                    </a:lnTo>
                    <a:lnTo>
                      <a:pt x="1014" y="60"/>
                    </a:lnTo>
                    <a:lnTo>
                      <a:pt x="1018" y="46"/>
                    </a:lnTo>
                    <a:lnTo>
                      <a:pt x="1026" y="34"/>
                    </a:lnTo>
                    <a:lnTo>
                      <a:pt x="1034" y="22"/>
                    </a:lnTo>
                    <a:lnTo>
                      <a:pt x="1046" y="12"/>
                    </a:lnTo>
                    <a:lnTo>
                      <a:pt x="1058" y="6"/>
                    </a:lnTo>
                    <a:lnTo>
                      <a:pt x="1072" y="2"/>
                    </a:lnTo>
                    <a:lnTo>
                      <a:pt x="1088" y="0"/>
                    </a:lnTo>
                    <a:lnTo>
                      <a:pt x="1204" y="0"/>
                    </a:lnTo>
                    <a:lnTo>
                      <a:pt x="1204" y="0"/>
                    </a:lnTo>
                    <a:lnTo>
                      <a:pt x="1220" y="2"/>
                    </a:lnTo>
                    <a:lnTo>
                      <a:pt x="1234" y="6"/>
                    </a:lnTo>
                    <a:lnTo>
                      <a:pt x="1246" y="12"/>
                    </a:lnTo>
                    <a:lnTo>
                      <a:pt x="1258" y="22"/>
                    </a:lnTo>
                    <a:lnTo>
                      <a:pt x="1266" y="34"/>
                    </a:lnTo>
                    <a:lnTo>
                      <a:pt x="1274" y="46"/>
                    </a:lnTo>
                    <a:lnTo>
                      <a:pt x="1278" y="60"/>
                    </a:lnTo>
                    <a:lnTo>
                      <a:pt x="1280" y="76"/>
                    </a:lnTo>
                    <a:lnTo>
                      <a:pt x="1280" y="540"/>
                    </a:lnTo>
                    <a:lnTo>
                      <a:pt x="1332" y="540"/>
                    </a:lnTo>
                    <a:lnTo>
                      <a:pt x="1332" y="540"/>
                    </a:lnTo>
                    <a:lnTo>
                      <a:pt x="1342" y="542"/>
                    </a:lnTo>
                    <a:lnTo>
                      <a:pt x="1352" y="544"/>
                    </a:lnTo>
                    <a:lnTo>
                      <a:pt x="1362" y="550"/>
                    </a:lnTo>
                    <a:lnTo>
                      <a:pt x="1370" y="556"/>
                    </a:lnTo>
                    <a:lnTo>
                      <a:pt x="1376" y="564"/>
                    </a:lnTo>
                    <a:lnTo>
                      <a:pt x="1380" y="572"/>
                    </a:lnTo>
                    <a:lnTo>
                      <a:pt x="1384" y="582"/>
                    </a:lnTo>
                    <a:lnTo>
                      <a:pt x="1384" y="594"/>
                    </a:lnTo>
                    <a:lnTo>
                      <a:pt x="1384" y="594"/>
                    </a:lnTo>
                    <a:lnTo>
                      <a:pt x="1384" y="604"/>
                    </a:lnTo>
                    <a:lnTo>
                      <a:pt x="1380" y="614"/>
                    </a:lnTo>
                    <a:lnTo>
                      <a:pt x="1376" y="622"/>
                    </a:lnTo>
                    <a:lnTo>
                      <a:pt x="1370" y="630"/>
                    </a:lnTo>
                    <a:lnTo>
                      <a:pt x="1362" y="636"/>
                    </a:lnTo>
                    <a:lnTo>
                      <a:pt x="1352" y="642"/>
                    </a:lnTo>
                    <a:lnTo>
                      <a:pt x="1342" y="644"/>
                    </a:lnTo>
                    <a:lnTo>
                      <a:pt x="1332" y="646"/>
                    </a:lnTo>
                    <a:lnTo>
                      <a:pt x="1332" y="64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19" name="Freeform 6"/>
              <p:cNvSpPr>
                <a:spLocks noEditPoints="1"/>
              </p:cNvSpPr>
              <p:nvPr/>
            </p:nvSpPr>
            <p:spPr bwMode="auto">
              <a:xfrm>
                <a:off x="5757683" y="2925113"/>
                <a:ext cx="184112" cy="184112"/>
              </a:xfrm>
              <a:custGeom>
                <a:avLst/>
                <a:gdLst>
                  <a:gd name="T0" fmla="*/ 152 w 304"/>
                  <a:gd name="T1" fmla="*/ 304 h 304"/>
                  <a:gd name="T2" fmla="*/ 122 w 304"/>
                  <a:gd name="T3" fmla="*/ 302 h 304"/>
                  <a:gd name="T4" fmla="*/ 92 w 304"/>
                  <a:gd name="T5" fmla="*/ 292 h 304"/>
                  <a:gd name="T6" fmla="*/ 66 w 304"/>
                  <a:gd name="T7" fmla="*/ 278 h 304"/>
                  <a:gd name="T8" fmla="*/ 44 w 304"/>
                  <a:gd name="T9" fmla="*/ 260 h 304"/>
                  <a:gd name="T10" fmla="*/ 26 w 304"/>
                  <a:gd name="T11" fmla="*/ 238 h 304"/>
                  <a:gd name="T12" fmla="*/ 12 w 304"/>
                  <a:gd name="T13" fmla="*/ 212 h 304"/>
                  <a:gd name="T14" fmla="*/ 2 w 304"/>
                  <a:gd name="T15" fmla="*/ 182 h 304"/>
                  <a:gd name="T16" fmla="*/ 0 w 304"/>
                  <a:gd name="T17" fmla="*/ 152 h 304"/>
                  <a:gd name="T18" fmla="*/ 0 w 304"/>
                  <a:gd name="T19" fmla="*/ 136 h 304"/>
                  <a:gd name="T20" fmla="*/ 6 w 304"/>
                  <a:gd name="T21" fmla="*/ 106 h 304"/>
                  <a:gd name="T22" fmla="*/ 18 w 304"/>
                  <a:gd name="T23" fmla="*/ 80 h 304"/>
                  <a:gd name="T24" fmla="*/ 34 w 304"/>
                  <a:gd name="T25" fmla="*/ 56 h 304"/>
                  <a:gd name="T26" fmla="*/ 56 w 304"/>
                  <a:gd name="T27" fmla="*/ 34 h 304"/>
                  <a:gd name="T28" fmla="*/ 80 w 304"/>
                  <a:gd name="T29" fmla="*/ 18 h 304"/>
                  <a:gd name="T30" fmla="*/ 106 w 304"/>
                  <a:gd name="T31" fmla="*/ 6 h 304"/>
                  <a:gd name="T32" fmla="*/ 136 w 304"/>
                  <a:gd name="T33" fmla="*/ 0 h 304"/>
                  <a:gd name="T34" fmla="*/ 152 w 304"/>
                  <a:gd name="T35" fmla="*/ 0 h 304"/>
                  <a:gd name="T36" fmla="*/ 182 w 304"/>
                  <a:gd name="T37" fmla="*/ 2 h 304"/>
                  <a:gd name="T38" fmla="*/ 212 w 304"/>
                  <a:gd name="T39" fmla="*/ 12 h 304"/>
                  <a:gd name="T40" fmla="*/ 238 w 304"/>
                  <a:gd name="T41" fmla="*/ 26 h 304"/>
                  <a:gd name="T42" fmla="*/ 260 w 304"/>
                  <a:gd name="T43" fmla="*/ 44 h 304"/>
                  <a:gd name="T44" fmla="*/ 278 w 304"/>
                  <a:gd name="T45" fmla="*/ 66 h 304"/>
                  <a:gd name="T46" fmla="*/ 292 w 304"/>
                  <a:gd name="T47" fmla="*/ 92 h 304"/>
                  <a:gd name="T48" fmla="*/ 302 w 304"/>
                  <a:gd name="T49" fmla="*/ 122 h 304"/>
                  <a:gd name="T50" fmla="*/ 304 w 304"/>
                  <a:gd name="T51" fmla="*/ 152 h 304"/>
                  <a:gd name="T52" fmla="*/ 304 w 304"/>
                  <a:gd name="T53" fmla="*/ 168 h 304"/>
                  <a:gd name="T54" fmla="*/ 298 w 304"/>
                  <a:gd name="T55" fmla="*/ 198 h 304"/>
                  <a:gd name="T56" fmla="*/ 286 w 304"/>
                  <a:gd name="T57" fmla="*/ 224 h 304"/>
                  <a:gd name="T58" fmla="*/ 270 w 304"/>
                  <a:gd name="T59" fmla="*/ 250 h 304"/>
                  <a:gd name="T60" fmla="*/ 250 w 304"/>
                  <a:gd name="T61" fmla="*/ 270 h 304"/>
                  <a:gd name="T62" fmla="*/ 224 w 304"/>
                  <a:gd name="T63" fmla="*/ 286 h 304"/>
                  <a:gd name="T64" fmla="*/ 198 w 304"/>
                  <a:gd name="T65" fmla="*/ 298 h 304"/>
                  <a:gd name="T66" fmla="*/ 168 w 304"/>
                  <a:gd name="T67" fmla="*/ 304 h 304"/>
                  <a:gd name="T68" fmla="*/ 152 w 304"/>
                  <a:gd name="T69" fmla="*/ 304 h 304"/>
                  <a:gd name="T70" fmla="*/ 152 w 304"/>
                  <a:gd name="T71" fmla="*/ 104 h 304"/>
                  <a:gd name="T72" fmla="*/ 134 w 304"/>
                  <a:gd name="T73" fmla="*/ 108 h 304"/>
                  <a:gd name="T74" fmla="*/ 118 w 304"/>
                  <a:gd name="T75" fmla="*/ 118 h 304"/>
                  <a:gd name="T76" fmla="*/ 108 w 304"/>
                  <a:gd name="T77" fmla="*/ 134 h 304"/>
                  <a:gd name="T78" fmla="*/ 104 w 304"/>
                  <a:gd name="T79" fmla="*/ 152 h 304"/>
                  <a:gd name="T80" fmla="*/ 106 w 304"/>
                  <a:gd name="T81" fmla="*/ 162 h 304"/>
                  <a:gd name="T82" fmla="*/ 112 w 304"/>
                  <a:gd name="T83" fmla="*/ 178 h 304"/>
                  <a:gd name="T84" fmla="*/ 126 w 304"/>
                  <a:gd name="T85" fmla="*/ 192 h 304"/>
                  <a:gd name="T86" fmla="*/ 142 w 304"/>
                  <a:gd name="T87" fmla="*/ 198 h 304"/>
                  <a:gd name="T88" fmla="*/ 152 w 304"/>
                  <a:gd name="T89" fmla="*/ 200 h 304"/>
                  <a:gd name="T90" fmla="*/ 170 w 304"/>
                  <a:gd name="T91" fmla="*/ 196 h 304"/>
                  <a:gd name="T92" fmla="*/ 186 w 304"/>
                  <a:gd name="T93" fmla="*/ 186 h 304"/>
                  <a:gd name="T94" fmla="*/ 196 w 304"/>
                  <a:gd name="T95" fmla="*/ 170 h 304"/>
                  <a:gd name="T96" fmla="*/ 200 w 304"/>
                  <a:gd name="T97" fmla="*/ 152 h 304"/>
                  <a:gd name="T98" fmla="*/ 198 w 304"/>
                  <a:gd name="T99" fmla="*/ 142 h 304"/>
                  <a:gd name="T100" fmla="*/ 192 w 304"/>
                  <a:gd name="T101" fmla="*/ 126 h 304"/>
                  <a:gd name="T102" fmla="*/ 178 w 304"/>
                  <a:gd name="T103" fmla="*/ 112 h 304"/>
                  <a:gd name="T104" fmla="*/ 162 w 304"/>
                  <a:gd name="T105" fmla="*/ 106 h 304"/>
                  <a:gd name="T106" fmla="*/ 152 w 304"/>
                  <a:gd name="T107" fmla="*/ 1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4">
                    <a:moveTo>
                      <a:pt x="152" y="304"/>
                    </a:moveTo>
                    <a:lnTo>
                      <a:pt x="152" y="304"/>
                    </a:lnTo>
                    <a:lnTo>
                      <a:pt x="136" y="304"/>
                    </a:lnTo>
                    <a:lnTo>
                      <a:pt x="122" y="302"/>
                    </a:lnTo>
                    <a:lnTo>
                      <a:pt x="106" y="298"/>
                    </a:lnTo>
                    <a:lnTo>
                      <a:pt x="92" y="292"/>
                    </a:lnTo>
                    <a:lnTo>
                      <a:pt x="80" y="286"/>
                    </a:lnTo>
                    <a:lnTo>
                      <a:pt x="66" y="278"/>
                    </a:lnTo>
                    <a:lnTo>
                      <a:pt x="56" y="270"/>
                    </a:lnTo>
                    <a:lnTo>
                      <a:pt x="44" y="260"/>
                    </a:lnTo>
                    <a:lnTo>
                      <a:pt x="34" y="250"/>
                    </a:lnTo>
                    <a:lnTo>
                      <a:pt x="26" y="238"/>
                    </a:lnTo>
                    <a:lnTo>
                      <a:pt x="18" y="224"/>
                    </a:lnTo>
                    <a:lnTo>
                      <a:pt x="12" y="212"/>
                    </a:lnTo>
                    <a:lnTo>
                      <a:pt x="6" y="198"/>
                    </a:lnTo>
                    <a:lnTo>
                      <a:pt x="2" y="182"/>
                    </a:lnTo>
                    <a:lnTo>
                      <a:pt x="0" y="168"/>
                    </a:lnTo>
                    <a:lnTo>
                      <a:pt x="0" y="152"/>
                    </a:lnTo>
                    <a:lnTo>
                      <a:pt x="0" y="152"/>
                    </a:lnTo>
                    <a:lnTo>
                      <a:pt x="0" y="136"/>
                    </a:lnTo>
                    <a:lnTo>
                      <a:pt x="2" y="122"/>
                    </a:lnTo>
                    <a:lnTo>
                      <a:pt x="6" y="106"/>
                    </a:lnTo>
                    <a:lnTo>
                      <a:pt x="12" y="92"/>
                    </a:lnTo>
                    <a:lnTo>
                      <a:pt x="18" y="80"/>
                    </a:lnTo>
                    <a:lnTo>
                      <a:pt x="26" y="66"/>
                    </a:lnTo>
                    <a:lnTo>
                      <a:pt x="34" y="56"/>
                    </a:lnTo>
                    <a:lnTo>
                      <a:pt x="44" y="44"/>
                    </a:lnTo>
                    <a:lnTo>
                      <a:pt x="56" y="34"/>
                    </a:lnTo>
                    <a:lnTo>
                      <a:pt x="66" y="26"/>
                    </a:lnTo>
                    <a:lnTo>
                      <a:pt x="80" y="18"/>
                    </a:lnTo>
                    <a:lnTo>
                      <a:pt x="92" y="12"/>
                    </a:lnTo>
                    <a:lnTo>
                      <a:pt x="106" y="6"/>
                    </a:lnTo>
                    <a:lnTo>
                      <a:pt x="122" y="2"/>
                    </a:lnTo>
                    <a:lnTo>
                      <a:pt x="136" y="0"/>
                    </a:lnTo>
                    <a:lnTo>
                      <a:pt x="152" y="0"/>
                    </a:lnTo>
                    <a:lnTo>
                      <a:pt x="152" y="0"/>
                    </a:lnTo>
                    <a:lnTo>
                      <a:pt x="168" y="0"/>
                    </a:lnTo>
                    <a:lnTo>
                      <a:pt x="182" y="2"/>
                    </a:lnTo>
                    <a:lnTo>
                      <a:pt x="198" y="6"/>
                    </a:lnTo>
                    <a:lnTo>
                      <a:pt x="212" y="12"/>
                    </a:lnTo>
                    <a:lnTo>
                      <a:pt x="224" y="18"/>
                    </a:lnTo>
                    <a:lnTo>
                      <a:pt x="238" y="26"/>
                    </a:lnTo>
                    <a:lnTo>
                      <a:pt x="250" y="34"/>
                    </a:lnTo>
                    <a:lnTo>
                      <a:pt x="260" y="44"/>
                    </a:lnTo>
                    <a:lnTo>
                      <a:pt x="270" y="56"/>
                    </a:lnTo>
                    <a:lnTo>
                      <a:pt x="278" y="66"/>
                    </a:lnTo>
                    <a:lnTo>
                      <a:pt x="286" y="80"/>
                    </a:lnTo>
                    <a:lnTo>
                      <a:pt x="292" y="92"/>
                    </a:lnTo>
                    <a:lnTo>
                      <a:pt x="298" y="106"/>
                    </a:lnTo>
                    <a:lnTo>
                      <a:pt x="302" y="122"/>
                    </a:lnTo>
                    <a:lnTo>
                      <a:pt x="304" y="136"/>
                    </a:lnTo>
                    <a:lnTo>
                      <a:pt x="304" y="152"/>
                    </a:lnTo>
                    <a:lnTo>
                      <a:pt x="304" y="152"/>
                    </a:lnTo>
                    <a:lnTo>
                      <a:pt x="304" y="168"/>
                    </a:lnTo>
                    <a:lnTo>
                      <a:pt x="302" y="182"/>
                    </a:lnTo>
                    <a:lnTo>
                      <a:pt x="298" y="198"/>
                    </a:lnTo>
                    <a:lnTo>
                      <a:pt x="292" y="212"/>
                    </a:lnTo>
                    <a:lnTo>
                      <a:pt x="286" y="224"/>
                    </a:lnTo>
                    <a:lnTo>
                      <a:pt x="278" y="238"/>
                    </a:lnTo>
                    <a:lnTo>
                      <a:pt x="270" y="250"/>
                    </a:lnTo>
                    <a:lnTo>
                      <a:pt x="260" y="260"/>
                    </a:lnTo>
                    <a:lnTo>
                      <a:pt x="250" y="270"/>
                    </a:lnTo>
                    <a:lnTo>
                      <a:pt x="238" y="278"/>
                    </a:lnTo>
                    <a:lnTo>
                      <a:pt x="224" y="286"/>
                    </a:lnTo>
                    <a:lnTo>
                      <a:pt x="212" y="292"/>
                    </a:lnTo>
                    <a:lnTo>
                      <a:pt x="198" y="298"/>
                    </a:lnTo>
                    <a:lnTo>
                      <a:pt x="182" y="302"/>
                    </a:lnTo>
                    <a:lnTo>
                      <a:pt x="168" y="304"/>
                    </a:lnTo>
                    <a:lnTo>
                      <a:pt x="152" y="304"/>
                    </a:lnTo>
                    <a:lnTo>
                      <a:pt x="152" y="304"/>
                    </a:lnTo>
                    <a:close/>
                    <a:moveTo>
                      <a:pt x="152" y="104"/>
                    </a:moveTo>
                    <a:lnTo>
                      <a:pt x="152" y="104"/>
                    </a:lnTo>
                    <a:lnTo>
                      <a:pt x="142" y="106"/>
                    </a:lnTo>
                    <a:lnTo>
                      <a:pt x="134" y="108"/>
                    </a:lnTo>
                    <a:lnTo>
                      <a:pt x="126" y="112"/>
                    </a:lnTo>
                    <a:lnTo>
                      <a:pt x="118" y="118"/>
                    </a:lnTo>
                    <a:lnTo>
                      <a:pt x="112" y="126"/>
                    </a:lnTo>
                    <a:lnTo>
                      <a:pt x="108" y="134"/>
                    </a:lnTo>
                    <a:lnTo>
                      <a:pt x="106" y="142"/>
                    </a:lnTo>
                    <a:lnTo>
                      <a:pt x="104" y="152"/>
                    </a:lnTo>
                    <a:lnTo>
                      <a:pt x="104" y="152"/>
                    </a:lnTo>
                    <a:lnTo>
                      <a:pt x="106" y="162"/>
                    </a:lnTo>
                    <a:lnTo>
                      <a:pt x="108" y="170"/>
                    </a:lnTo>
                    <a:lnTo>
                      <a:pt x="112" y="178"/>
                    </a:lnTo>
                    <a:lnTo>
                      <a:pt x="118" y="186"/>
                    </a:lnTo>
                    <a:lnTo>
                      <a:pt x="126" y="192"/>
                    </a:lnTo>
                    <a:lnTo>
                      <a:pt x="134" y="196"/>
                    </a:lnTo>
                    <a:lnTo>
                      <a:pt x="142" y="198"/>
                    </a:lnTo>
                    <a:lnTo>
                      <a:pt x="152" y="200"/>
                    </a:lnTo>
                    <a:lnTo>
                      <a:pt x="152" y="200"/>
                    </a:lnTo>
                    <a:lnTo>
                      <a:pt x="162" y="198"/>
                    </a:lnTo>
                    <a:lnTo>
                      <a:pt x="170" y="196"/>
                    </a:lnTo>
                    <a:lnTo>
                      <a:pt x="178" y="192"/>
                    </a:lnTo>
                    <a:lnTo>
                      <a:pt x="186" y="186"/>
                    </a:lnTo>
                    <a:lnTo>
                      <a:pt x="192" y="178"/>
                    </a:lnTo>
                    <a:lnTo>
                      <a:pt x="196" y="170"/>
                    </a:lnTo>
                    <a:lnTo>
                      <a:pt x="198" y="162"/>
                    </a:lnTo>
                    <a:lnTo>
                      <a:pt x="200" y="152"/>
                    </a:lnTo>
                    <a:lnTo>
                      <a:pt x="200" y="152"/>
                    </a:lnTo>
                    <a:lnTo>
                      <a:pt x="198" y="142"/>
                    </a:lnTo>
                    <a:lnTo>
                      <a:pt x="196" y="134"/>
                    </a:lnTo>
                    <a:lnTo>
                      <a:pt x="192" y="126"/>
                    </a:lnTo>
                    <a:lnTo>
                      <a:pt x="186" y="118"/>
                    </a:lnTo>
                    <a:lnTo>
                      <a:pt x="178" y="112"/>
                    </a:lnTo>
                    <a:lnTo>
                      <a:pt x="170" y="108"/>
                    </a:lnTo>
                    <a:lnTo>
                      <a:pt x="162" y="106"/>
                    </a:lnTo>
                    <a:lnTo>
                      <a:pt x="152" y="104"/>
                    </a:lnTo>
                    <a:lnTo>
                      <a:pt x="152"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20" name="Freeform 7"/>
              <p:cNvSpPr>
                <a:spLocks noEditPoints="1"/>
              </p:cNvSpPr>
              <p:nvPr/>
            </p:nvSpPr>
            <p:spPr bwMode="auto">
              <a:xfrm>
                <a:off x="6002359" y="2994156"/>
                <a:ext cx="184112" cy="185323"/>
              </a:xfrm>
              <a:custGeom>
                <a:avLst/>
                <a:gdLst>
                  <a:gd name="T0" fmla="*/ 152 w 304"/>
                  <a:gd name="T1" fmla="*/ 306 h 306"/>
                  <a:gd name="T2" fmla="*/ 120 w 304"/>
                  <a:gd name="T3" fmla="*/ 302 h 306"/>
                  <a:gd name="T4" fmla="*/ 92 w 304"/>
                  <a:gd name="T5" fmla="*/ 294 h 306"/>
                  <a:gd name="T6" fmla="*/ 66 w 304"/>
                  <a:gd name="T7" fmla="*/ 280 h 306"/>
                  <a:gd name="T8" fmla="*/ 44 w 304"/>
                  <a:gd name="T9" fmla="*/ 262 h 306"/>
                  <a:gd name="T10" fmla="*/ 26 w 304"/>
                  <a:gd name="T11" fmla="*/ 238 h 306"/>
                  <a:gd name="T12" fmla="*/ 12 w 304"/>
                  <a:gd name="T13" fmla="*/ 212 h 306"/>
                  <a:gd name="T14" fmla="*/ 2 w 304"/>
                  <a:gd name="T15" fmla="*/ 184 h 306"/>
                  <a:gd name="T16" fmla="*/ 0 w 304"/>
                  <a:gd name="T17" fmla="*/ 154 h 306"/>
                  <a:gd name="T18" fmla="*/ 0 w 304"/>
                  <a:gd name="T19" fmla="*/ 138 h 306"/>
                  <a:gd name="T20" fmla="*/ 6 w 304"/>
                  <a:gd name="T21" fmla="*/ 108 h 306"/>
                  <a:gd name="T22" fmla="*/ 18 w 304"/>
                  <a:gd name="T23" fmla="*/ 80 h 306"/>
                  <a:gd name="T24" fmla="*/ 34 w 304"/>
                  <a:gd name="T25" fmla="*/ 56 h 306"/>
                  <a:gd name="T26" fmla="*/ 54 w 304"/>
                  <a:gd name="T27" fmla="*/ 36 h 306"/>
                  <a:gd name="T28" fmla="*/ 78 w 304"/>
                  <a:gd name="T29" fmla="*/ 20 h 306"/>
                  <a:gd name="T30" fmla="*/ 106 w 304"/>
                  <a:gd name="T31" fmla="*/ 8 h 306"/>
                  <a:gd name="T32" fmla="*/ 136 w 304"/>
                  <a:gd name="T33" fmla="*/ 2 h 306"/>
                  <a:gd name="T34" fmla="*/ 152 w 304"/>
                  <a:gd name="T35" fmla="*/ 0 h 306"/>
                  <a:gd name="T36" fmla="*/ 182 w 304"/>
                  <a:gd name="T37" fmla="*/ 4 h 306"/>
                  <a:gd name="T38" fmla="*/ 212 w 304"/>
                  <a:gd name="T39" fmla="*/ 12 h 306"/>
                  <a:gd name="T40" fmla="*/ 236 w 304"/>
                  <a:gd name="T41" fmla="*/ 26 h 306"/>
                  <a:gd name="T42" fmla="*/ 260 w 304"/>
                  <a:gd name="T43" fmla="*/ 46 h 306"/>
                  <a:gd name="T44" fmla="*/ 278 w 304"/>
                  <a:gd name="T45" fmla="*/ 68 h 306"/>
                  <a:gd name="T46" fmla="*/ 292 w 304"/>
                  <a:gd name="T47" fmla="*/ 94 h 306"/>
                  <a:gd name="T48" fmla="*/ 302 w 304"/>
                  <a:gd name="T49" fmla="*/ 122 h 306"/>
                  <a:gd name="T50" fmla="*/ 304 w 304"/>
                  <a:gd name="T51" fmla="*/ 154 h 306"/>
                  <a:gd name="T52" fmla="*/ 304 w 304"/>
                  <a:gd name="T53" fmla="*/ 168 h 306"/>
                  <a:gd name="T54" fmla="*/ 298 w 304"/>
                  <a:gd name="T55" fmla="*/ 198 h 306"/>
                  <a:gd name="T56" fmla="*/ 286 w 304"/>
                  <a:gd name="T57" fmla="*/ 226 h 306"/>
                  <a:gd name="T58" fmla="*/ 270 w 304"/>
                  <a:gd name="T59" fmla="*/ 250 h 306"/>
                  <a:gd name="T60" fmla="*/ 248 w 304"/>
                  <a:gd name="T61" fmla="*/ 272 h 306"/>
                  <a:gd name="T62" fmla="*/ 224 w 304"/>
                  <a:gd name="T63" fmla="*/ 288 h 306"/>
                  <a:gd name="T64" fmla="*/ 198 w 304"/>
                  <a:gd name="T65" fmla="*/ 300 h 306"/>
                  <a:gd name="T66" fmla="*/ 168 w 304"/>
                  <a:gd name="T67" fmla="*/ 306 h 306"/>
                  <a:gd name="T68" fmla="*/ 152 w 304"/>
                  <a:gd name="T69" fmla="*/ 306 h 306"/>
                  <a:gd name="T70" fmla="*/ 152 w 304"/>
                  <a:gd name="T71" fmla="*/ 106 h 306"/>
                  <a:gd name="T72" fmla="*/ 134 w 304"/>
                  <a:gd name="T73" fmla="*/ 110 h 306"/>
                  <a:gd name="T74" fmla="*/ 118 w 304"/>
                  <a:gd name="T75" fmla="*/ 120 h 306"/>
                  <a:gd name="T76" fmla="*/ 108 w 304"/>
                  <a:gd name="T77" fmla="*/ 134 h 306"/>
                  <a:gd name="T78" fmla="*/ 104 w 304"/>
                  <a:gd name="T79" fmla="*/ 154 h 306"/>
                  <a:gd name="T80" fmla="*/ 106 w 304"/>
                  <a:gd name="T81" fmla="*/ 164 h 306"/>
                  <a:gd name="T82" fmla="*/ 112 w 304"/>
                  <a:gd name="T83" fmla="*/ 180 h 306"/>
                  <a:gd name="T84" fmla="*/ 126 w 304"/>
                  <a:gd name="T85" fmla="*/ 192 h 306"/>
                  <a:gd name="T86" fmla="*/ 142 w 304"/>
                  <a:gd name="T87" fmla="*/ 200 h 306"/>
                  <a:gd name="T88" fmla="*/ 152 w 304"/>
                  <a:gd name="T89" fmla="*/ 202 h 306"/>
                  <a:gd name="T90" fmla="*/ 170 w 304"/>
                  <a:gd name="T91" fmla="*/ 198 h 306"/>
                  <a:gd name="T92" fmla="*/ 186 w 304"/>
                  <a:gd name="T93" fmla="*/ 188 h 306"/>
                  <a:gd name="T94" fmla="*/ 196 w 304"/>
                  <a:gd name="T95" fmla="*/ 172 h 306"/>
                  <a:gd name="T96" fmla="*/ 200 w 304"/>
                  <a:gd name="T97" fmla="*/ 154 h 306"/>
                  <a:gd name="T98" fmla="*/ 198 w 304"/>
                  <a:gd name="T99" fmla="*/ 144 h 306"/>
                  <a:gd name="T100" fmla="*/ 192 w 304"/>
                  <a:gd name="T101" fmla="*/ 126 h 306"/>
                  <a:gd name="T102" fmla="*/ 178 w 304"/>
                  <a:gd name="T103" fmla="*/ 114 h 306"/>
                  <a:gd name="T104" fmla="*/ 162 w 304"/>
                  <a:gd name="T105" fmla="*/ 106 h 306"/>
                  <a:gd name="T106" fmla="*/ 152 w 304"/>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6">
                    <a:moveTo>
                      <a:pt x="152" y="306"/>
                    </a:moveTo>
                    <a:lnTo>
                      <a:pt x="152" y="306"/>
                    </a:lnTo>
                    <a:lnTo>
                      <a:pt x="136" y="306"/>
                    </a:lnTo>
                    <a:lnTo>
                      <a:pt x="120" y="302"/>
                    </a:lnTo>
                    <a:lnTo>
                      <a:pt x="106" y="300"/>
                    </a:lnTo>
                    <a:lnTo>
                      <a:pt x="92" y="294"/>
                    </a:lnTo>
                    <a:lnTo>
                      <a:pt x="78" y="288"/>
                    </a:lnTo>
                    <a:lnTo>
                      <a:pt x="66" y="280"/>
                    </a:lnTo>
                    <a:lnTo>
                      <a:pt x="54" y="272"/>
                    </a:lnTo>
                    <a:lnTo>
                      <a:pt x="44" y="262"/>
                    </a:lnTo>
                    <a:lnTo>
                      <a:pt x="34" y="250"/>
                    </a:lnTo>
                    <a:lnTo>
                      <a:pt x="26" y="238"/>
                    </a:lnTo>
                    <a:lnTo>
                      <a:pt x="18" y="226"/>
                    </a:lnTo>
                    <a:lnTo>
                      <a:pt x="12" y="212"/>
                    </a:lnTo>
                    <a:lnTo>
                      <a:pt x="6" y="198"/>
                    </a:lnTo>
                    <a:lnTo>
                      <a:pt x="2" y="184"/>
                    </a:lnTo>
                    <a:lnTo>
                      <a:pt x="0" y="168"/>
                    </a:lnTo>
                    <a:lnTo>
                      <a:pt x="0" y="154"/>
                    </a:lnTo>
                    <a:lnTo>
                      <a:pt x="0" y="154"/>
                    </a:lnTo>
                    <a:lnTo>
                      <a:pt x="0" y="138"/>
                    </a:lnTo>
                    <a:lnTo>
                      <a:pt x="2" y="122"/>
                    </a:lnTo>
                    <a:lnTo>
                      <a:pt x="6" y="108"/>
                    </a:lnTo>
                    <a:lnTo>
                      <a:pt x="12" y="94"/>
                    </a:lnTo>
                    <a:lnTo>
                      <a:pt x="18" y="80"/>
                    </a:lnTo>
                    <a:lnTo>
                      <a:pt x="26" y="68"/>
                    </a:lnTo>
                    <a:lnTo>
                      <a:pt x="34" y="56"/>
                    </a:lnTo>
                    <a:lnTo>
                      <a:pt x="44" y="46"/>
                    </a:lnTo>
                    <a:lnTo>
                      <a:pt x="54" y="36"/>
                    </a:lnTo>
                    <a:lnTo>
                      <a:pt x="66" y="26"/>
                    </a:lnTo>
                    <a:lnTo>
                      <a:pt x="78" y="20"/>
                    </a:lnTo>
                    <a:lnTo>
                      <a:pt x="92" y="12"/>
                    </a:lnTo>
                    <a:lnTo>
                      <a:pt x="106" y="8"/>
                    </a:lnTo>
                    <a:lnTo>
                      <a:pt x="120" y="4"/>
                    </a:lnTo>
                    <a:lnTo>
                      <a:pt x="136" y="2"/>
                    </a:lnTo>
                    <a:lnTo>
                      <a:pt x="152" y="0"/>
                    </a:lnTo>
                    <a:lnTo>
                      <a:pt x="152" y="0"/>
                    </a:lnTo>
                    <a:lnTo>
                      <a:pt x="168" y="2"/>
                    </a:lnTo>
                    <a:lnTo>
                      <a:pt x="182" y="4"/>
                    </a:lnTo>
                    <a:lnTo>
                      <a:pt x="198" y="8"/>
                    </a:lnTo>
                    <a:lnTo>
                      <a:pt x="212" y="12"/>
                    </a:lnTo>
                    <a:lnTo>
                      <a:pt x="224" y="20"/>
                    </a:lnTo>
                    <a:lnTo>
                      <a:pt x="236" y="26"/>
                    </a:lnTo>
                    <a:lnTo>
                      <a:pt x="248" y="36"/>
                    </a:lnTo>
                    <a:lnTo>
                      <a:pt x="260" y="46"/>
                    </a:lnTo>
                    <a:lnTo>
                      <a:pt x="270" y="56"/>
                    </a:lnTo>
                    <a:lnTo>
                      <a:pt x="278" y="68"/>
                    </a:lnTo>
                    <a:lnTo>
                      <a:pt x="286" y="80"/>
                    </a:lnTo>
                    <a:lnTo>
                      <a:pt x="292" y="94"/>
                    </a:lnTo>
                    <a:lnTo>
                      <a:pt x="298" y="108"/>
                    </a:lnTo>
                    <a:lnTo>
                      <a:pt x="302" y="122"/>
                    </a:lnTo>
                    <a:lnTo>
                      <a:pt x="304" y="138"/>
                    </a:lnTo>
                    <a:lnTo>
                      <a:pt x="304" y="154"/>
                    </a:lnTo>
                    <a:lnTo>
                      <a:pt x="304" y="154"/>
                    </a:lnTo>
                    <a:lnTo>
                      <a:pt x="304" y="168"/>
                    </a:lnTo>
                    <a:lnTo>
                      <a:pt x="302" y="184"/>
                    </a:lnTo>
                    <a:lnTo>
                      <a:pt x="298" y="198"/>
                    </a:lnTo>
                    <a:lnTo>
                      <a:pt x="292" y="212"/>
                    </a:lnTo>
                    <a:lnTo>
                      <a:pt x="286" y="226"/>
                    </a:lnTo>
                    <a:lnTo>
                      <a:pt x="278" y="238"/>
                    </a:lnTo>
                    <a:lnTo>
                      <a:pt x="270" y="250"/>
                    </a:lnTo>
                    <a:lnTo>
                      <a:pt x="260" y="262"/>
                    </a:lnTo>
                    <a:lnTo>
                      <a:pt x="248" y="272"/>
                    </a:lnTo>
                    <a:lnTo>
                      <a:pt x="236" y="280"/>
                    </a:lnTo>
                    <a:lnTo>
                      <a:pt x="224" y="288"/>
                    </a:lnTo>
                    <a:lnTo>
                      <a:pt x="212" y="294"/>
                    </a:lnTo>
                    <a:lnTo>
                      <a:pt x="198" y="300"/>
                    </a:lnTo>
                    <a:lnTo>
                      <a:pt x="182" y="302"/>
                    </a:lnTo>
                    <a:lnTo>
                      <a:pt x="168" y="306"/>
                    </a:lnTo>
                    <a:lnTo>
                      <a:pt x="152" y="306"/>
                    </a:lnTo>
                    <a:lnTo>
                      <a:pt x="152" y="306"/>
                    </a:lnTo>
                    <a:close/>
                    <a:moveTo>
                      <a:pt x="152" y="106"/>
                    </a:moveTo>
                    <a:lnTo>
                      <a:pt x="152" y="106"/>
                    </a:lnTo>
                    <a:lnTo>
                      <a:pt x="142" y="106"/>
                    </a:lnTo>
                    <a:lnTo>
                      <a:pt x="134" y="110"/>
                    </a:lnTo>
                    <a:lnTo>
                      <a:pt x="126" y="114"/>
                    </a:lnTo>
                    <a:lnTo>
                      <a:pt x="118" y="120"/>
                    </a:lnTo>
                    <a:lnTo>
                      <a:pt x="112" y="126"/>
                    </a:lnTo>
                    <a:lnTo>
                      <a:pt x="108" y="134"/>
                    </a:lnTo>
                    <a:lnTo>
                      <a:pt x="106" y="144"/>
                    </a:lnTo>
                    <a:lnTo>
                      <a:pt x="104" y="154"/>
                    </a:lnTo>
                    <a:lnTo>
                      <a:pt x="104" y="154"/>
                    </a:lnTo>
                    <a:lnTo>
                      <a:pt x="106" y="164"/>
                    </a:lnTo>
                    <a:lnTo>
                      <a:pt x="108" y="172"/>
                    </a:lnTo>
                    <a:lnTo>
                      <a:pt x="112" y="180"/>
                    </a:lnTo>
                    <a:lnTo>
                      <a:pt x="118" y="188"/>
                    </a:lnTo>
                    <a:lnTo>
                      <a:pt x="126" y="192"/>
                    </a:lnTo>
                    <a:lnTo>
                      <a:pt x="134" y="198"/>
                    </a:lnTo>
                    <a:lnTo>
                      <a:pt x="142" y="200"/>
                    </a:lnTo>
                    <a:lnTo>
                      <a:pt x="152" y="202"/>
                    </a:lnTo>
                    <a:lnTo>
                      <a:pt x="152" y="202"/>
                    </a:lnTo>
                    <a:lnTo>
                      <a:pt x="162" y="200"/>
                    </a:lnTo>
                    <a:lnTo>
                      <a:pt x="170" y="198"/>
                    </a:lnTo>
                    <a:lnTo>
                      <a:pt x="178" y="192"/>
                    </a:lnTo>
                    <a:lnTo>
                      <a:pt x="186" y="188"/>
                    </a:lnTo>
                    <a:lnTo>
                      <a:pt x="192" y="180"/>
                    </a:lnTo>
                    <a:lnTo>
                      <a:pt x="196" y="172"/>
                    </a:lnTo>
                    <a:lnTo>
                      <a:pt x="198" y="164"/>
                    </a:lnTo>
                    <a:lnTo>
                      <a:pt x="200" y="154"/>
                    </a:lnTo>
                    <a:lnTo>
                      <a:pt x="200" y="154"/>
                    </a:lnTo>
                    <a:lnTo>
                      <a:pt x="198" y="144"/>
                    </a:lnTo>
                    <a:lnTo>
                      <a:pt x="196" y="134"/>
                    </a:lnTo>
                    <a:lnTo>
                      <a:pt x="192" y="126"/>
                    </a:lnTo>
                    <a:lnTo>
                      <a:pt x="186" y="120"/>
                    </a:lnTo>
                    <a:lnTo>
                      <a:pt x="178" y="114"/>
                    </a:lnTo>
                    <a:lnTo>
                      <a:pt x="170" y="110"/>
                    </a:lnTo>
                    <a:lnTo>
                      <a:pt x="162" y="106"/>
                    </a:lnTo>
                    <a:lnTo>
                      <a:pt x="152" y="106"/>
                    </a:lnTo>
                    <a:lnTo>
                      <a:pt x="152"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21" name="Freeform 8"/>
              <p:cNvSpPr>
                <a:spLocks noEditPoints="1"/>
              </p:cNvSpPr>
              <p:nvPr/>
            </p:nvSpPr>
            <p:spPr bwMode="auto">
              <a:xfrm>
                <a:off x="6245822" y="2850015"/>
                <a:ext cx="185323" cy="185323"/>
              </a:xfrm>
              <a:custGeom>
                <a:avLst/>
                <a:gdLst>
                  <a:gd name="T0" fmla="*/ 154 w 306"/>
                  <a:gd name="T1" fmla="*/ 306 h 306"/>
                  <a:gd name="T2" fmla="*/ 122 w 306"/>
                  <a:gd name="T3" fmla="*/ 302 h 306"/>
                  <a:gd name="T4" fmla="*/ 94 w 306"/>
                  <a:gd name="T5" fmla="*/ 294 h 306"/>
                  <a:gd name="T6" fmla="*/ 68 w 306"/>
                  <a:gd name="T7" fmla="*/ 280 h 306"/>
                  <a:gd name="T8" fmla="*/ 46 w 306"/>
                  <a:gd name="T9" fmla="*/ 262 h 306"/>
                  <a:gd name="T10" fmla="*/ 26 w 306"/>
                  <a:gd name="T11" fmla="*/ 238 h 306"/>
                  <a:gd name="T12" fmla="*/ 12 w 306"/>
                  <a:gd name="T13" fmla="*/ 212 h 306"/>
                  <a:gd name="T14" fmla="*/ 4 w 306"/>
                  <a:gd name="T15" fmla="*/ 184 h 306"/>
                  <a:gd name="T16" fmla="*/ 0 w 306"/>
                  <a:gd name="T17" fmla="*/ 154 h 306"/>
                  <a:gd name="T18" fmla="*/ 2 w 306"/>
                  <a:gd name="T19" fmla="*/ 138 h 306"/>
                  <a:gd name="T20" fmla="*/ 8 w 306"/>
                  <a:gd name="T21" fmla="*/ 108 h 306"/>
                  <a:gd name="T22" fmla="*/ 18 w 306"/>
                  <a:gd name="T23" fmla="*/ 80 h 306"/>
                  <a:gd name="T24" fmla="*/ 36 w 306"/>
                  <a:gd name="T25" fmla="*/ 56 h 306"/>
                  <a:gd name="T26" fmla="*/ 56 w 306"/>
                  <a:gd name="T27" fmla="*/ 36 h 306"/>
                  <a:gd name="T28" fmla="*/ 80 w 306"/>
                  <a:gd name="T29" fmla="*/ 18 h 306"/>
                  <a:gd name="T30" fmla="*/ 108 w 306"/>
                  <a:gd name="T31" fmla="*/ 8 h 306"/>
                  <a:gd name="T32" fmla="*/ 138 w 306"/>
                  <a:gd name="T33" fmla="*/ 2 h 306"/>
                  <a:gd name="T34" fmla="*/ 154 w 306"/>
                  <a:gd name="T35" fmla="*/ 0 h 306"/>
                  <a:gd name="T36" fmla="*/ 184 w 306"/>
                  <a:gd name="T37" fmla="*/ 4 h 306"/>
                  <a:gd name="T38" fmla="*/ 212 w 306"/>
                  <a:gd name="T39" fmla="*/ 12 h 306"/>
                  <a:gd name="T40" fmla="*/ 238 w 306"/>
                  <a:gd name="T41" fmla="*/ 26 h 306"/>
                  <a:gd name="T42" fmla="*/ 260 w 306"/>
                  <a:gd name="T43" fmla="*/ 46 h 306"/>
                  <a:gd name="T44" fmla="*/ 280 w 306"/>
                  <a:gd name="T45" fmla="*/ 68 h 306"/>
                  <a:gd name="T46" fmla="*/ 294 w 306"/>
                  <a:gd name="T47" fmla="*/ 94 h 306"/>
                  <a:gd name="T48" fmla="*/ 302 w 306"/>
                  <a:gd name="T49" fmla="*/ 122 h 306"/>
                  <a:gd name="T50" fmla="*/ 306 w 306"/>
                  <a:gd name="T51" fmla="*/ 154 h 306"/>
                  <a:gd name="T52" fmla="*/ 304 w 306"/>
                  <a:gd name="T53" fmla="*/ 168 h 306"/>
                  <a:gd name="T54" fmla="*/ 298 w 306"/>
                  <a:gd name="T55" fmla="*/ 198 h 306"/>
                  <a:gd name="T56" fmla="*/ 288 w 306"/>
                  <a:gd name="T57" fmla="*/ 226 h 306"/>
                  <a:gd name="T58" fmla="*/ 270 w 306"/>
                  <a:gd name="T59" fmla="*/ 250 h 306"/>
                  <a:gd name="T60" fmla="*/ 250 w 306"/>
                  <a:gd name="T61" fmla="*/ 270 h 306"/>
                  <a:gd name="T62" fmla="*/ 226 w 306"/>
                  <a:gd name="T63" fmla="*/ 288 h 306"/>
                  <a:gd name="T64" fmla="*/ 198 w 306"/>
                  <a:gd name="T65" fmla="*/ 298 h 306"/>
                  <a:gd name="T66" fmla="*/ 168 w 306"/>
                  <a:gd name="T67" fmla="*/ 306 h 306"/>
                  <a:gd name="T68" fmla="*/ 154 w 306"/>
                  <a:gd name="T69" fmla="*/ 306 h 306"/>
                  <a:gd name="T70" fmla="*/ 154 w 306"/>
                  <a:gd name="T71" fmla="*/ 106 h 306"/>
                  <a:gd name="T72" fmla="*/ 134 w 306"/>
                  <a:gd name="T73" fmla="*/ 110 h 306"/>
                  <a:gd name="T74" fmla="*/ 120 w 306"/>
                  <a:gd name="T75" fmla="*/ 120 h 306"/>
                  <a:gd name="T76" fmla="*/ 110 w 306"/>
                  <a:gd name="T77" fmla="*/ 134 h 306"/>
                  <a:gd name="T78" fmla="*/ 106 w 306"/>
                  <a:gd name="T79" fmla="*/ 154 h 306"/>
                  <a:gd name="T80" fmla="*/ 106 w 306"/>
                  <a:gd name="T81" fmla="*/ 162 h 306"/>
                  <a:gd name="T82" fmla="*/ 114 w 306"/>
                  <a:gd name="T83" fmla="*/ 180 h 306"/>
                  <a:gd name="T84" fmla="*/ 126 w 306"/>
                  <a:gd name="T85" fmla="*/ 192 h 306"/>
                  <a:gd name="T86" fmla="*/ 144 w 306"/>
                  <a:gd name="T87" fmla="*/ 200 h 306"/>
                  <a:gd name="T88" fmla="*/ 154 w 306"/>
                  <a:gd name="T89" fmla="*/ 200 h 306"/>
                  <a:gd name="T90" fmla="*/ 172 w 306"/>
                  <a:gd name="T91" fmla="*/ 198 h 306"/>
                  <a:gd name="T92" fmla="*/ 186 w 306"/>
                  <a:gd name="T93" fmla="*/ 186 h 306"/>
                  <a:gd name="T94" fmla="*/ 196 w 306"/>
                  <a:gd name="T95" fmla="*/ 172 h 306"/>
                  <a:gd name="T96" fmla="*/ 200 w 306"/>
                  <a:gd name="T97" fmla="*/ 154 h 306"/>
                  <a:gd name="T98" fmla="*/ 200 w 306"/>
                  <a:gd name="T99" fmla="*/ 144 h 306"/>
                  <a:gd name="T100" fmla="*/ 192 w 306"/>
                  <a:gd name="T101" fmla="*/ 126 h 306"/>
                  <a:gd name="T102" fmla="*/ 180 w 306"/>
                  <a:gd name="T103" fmla="*/ 114 h 306"/>
                  <a:gd name="T104" fmla="*/ 162 w 306"/>
                  <a:gd name="T105" fmla="*/ 106 h 306"/>
                  <a:gd name="T106" fmla="*/ 154 w 306"/>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306">
                    <a:moveTo>
                      <a:pt x="154" y="306"/>
                    </a:moveTo>
                    <a:lnTo>
                      <a:pt x="154" y="306"/>
                    </a:lnTo>
                    <a:lnTo>
                      <a:pt x="138" y="306"/>
                    </a:lnTo>
                    <a:lnTo>
                      <a:pt x="122" y="302"/>
                    </a:lnTo>
                    <a:lnTo>
                      <a:pt x="108" y="298"/>
                    </a:lnTo>
                    <a:lnTo>
                      <a:pt x="94" y="294"/>
                    </a:lnTo>
                    <a:lnTo>
                      <a:pt x="80" y="288"/>
                    </a:lnTo>
                    <a:lnTo>
                      <a:pt x="68" y="280"/>
                    </a:lnTo>
                    <a:lnTo>
                      <a:pt x="56" y="270"/>
                    </a:lnTo>
                    <a:lnTo>
                      <a:pt x="46" y="262"/>
                    </a:lnTo>
                    <a:lnTo>
                      <a:pt x="36" y="250"/>
                    </a:lnTo>
                    <a:lnTo>
                      <a:pt x="26" y="238"/>
                    </a:lnTo>
                    <a:lnTo>
                      <a:pt x="18" y="226"/>
                    </a:lnTo>
                    <a:lnTo>
                      <a:pt x="12" y="212"/>
                    </a:lnTo>
                    <a:lnTo>
                      <a:pt x="8" y="198"/>
                    </a:lnTo>
                    <a:lnTo>
                      <a:pt x="4" y="184"/>
                    </a:lnTo>
                    <a:lnTo>
                      <a:pt x="2" y="168"/>
                    </a:lnTo>
                    <a:lnTo>
                      <a:pt x="0" y="154"/>
                    </a:lnTo>
                    <a:lnTo>
                      <a:pt x="0" y="154"/>
                    </a:lnTo>
                    <a:lnTo>
                      <a:pt x="2" y="138"/>
                    </a:lnTo>
                    <a:lnTo>
                      <a:pt x="4" y="122"/>
                    </a:lnTo>
                    <a:lnTo>
                      <a:pt x="8" y="108"/>
                    </a:lnTo>
                    <a:lnTo>
                      <a:pt x="12" y="94"/>
                    </a:lnTo>
                    <a:lnTo>
                      <a:pt x="18" y="80"/>
                    </a:lnTo>
                    <a:lnTo>
                      <a:pt x="26" y="68"/>
                    </a:lnTo>
                    <a:lnTo>
                      <a:pt x="36" y="56"/>
                    </a:lnTo>
                    <a:lnTo>
                      <a:pt x="46" y="46"/>
                    </a:lnTo>
                    <a:lnTo>
                      <a:pt x="56" y="36"/>
                    </a:lnTo>
                    <a:lnTo>
                      <a:pt x="68" y="26"/>
                    </a:lnTo>
                    <a:lnTo>
                      <a:pt x="80" y="18"/>
                    </a:lnTo>
                    <a:lnTo>
                      <a:pt x="94" y="12"/>
                    </a:lnTo>
                    <a:lnTo>
                      <a:pt x="108" y="8"/>
                    </a:lnTo>
                    <a:lnTo>
                      <a:pt x="122" y="4"/>
                    </a:lnTo>
                    <a:lnTo>
                      <a:pt x="138" y="2"/>
                    </a:lnTo>
                    <a:lnTo>
                      <a:pt x="154" y="0"/>
                    </a:lnTo>
                    <a:lnTo>
                      <a:pt x="154" y="0"/>
                    </a:lnTo>
                    <a:lnTo>
                      <a:pt x="168" y="2"/>
                    </a:lnTo>
                    <a:lnTo>
                      <a:pt x="184" y="4"/>
                    </a:lnTo>
                    <a:lnTo>
                      <a:pt x="198" y="8"/>
                    </a:lnTo>
                    <a:lnTo>
                      <a:pt x="212" y="12"/>
                    </a:lnTo>
                    <a:lnTo>
                      <a:pt x="226" y="18"/>
                    </a:lnTo>
                    <a:lnTo>
                      <a:pt x="238" y="26"/>
                    </a:lnTo>
                    <a:lnTo>
                      <a:pt x="250" y="36"/>
                    </a:lnTo>
                    <a:lnTo>
                      <a:pt x="260" y="46"/>
                    </a:lnTo>
                    <a:lnTo>
                      <a:pt x="270" y="56"/>
                    </a:lnTo>
                    <a:lnTo>
                      <a:pt x="280" y="68"/>
                    </a:lnTo>
                    <a:lnTo>
                      <a:pt x="288" y="80"/>
                    </a:lnTo>
                    <a:lnTo>
                      <a:pt x="294" y="94"/>
                    </a:lnTo>
                    <a:lnTo>
                      <a:pt x="298" y="108"/>
                    </a:lnTo>
                    <a:lnTo>
                      <a:pt x="302" y="122"/>
                    </a:lnTo>
                    <a:lnTo>
                      <a:pt x="304" y="138"/>
                    </a:lnTo>
                    <a:lnTo>
                      <a:pt x="306" y="154"/>
                    </a:lnTo>
                    <a:lnTo>
                      <a:pt x="306" y="154"/>
                    </a:lnTo>
                    <a:lnTo>
                      <a:pt x="304" y="168"/>
                    </a:lnTo>
                    <a:lnTo>
                      <a:pt x="302" y="184"/>
                    </a:lnTo>
                    <a:lnTo>
                      <a:pt x="298" y="198"/>
                    </a:lnTo>
                    <a:lnTo>
                      <a:pt x="294" y="212"/>
                    </a:lnTo>
                    <a:lnTo>
                      <a:pt x="288" y="226"/>
                    </a:lnTo>
                    <a:lnTo>
                      <a:pt x="280" y="238"/>
                    </a:lnTo>
                    <a:lnTo>
                      <a:pt x="270" y="250"/>
                    </a:lnTo>
                    <a:lnTo>
                      <a:pt x="260" y="262"/>
                    </a:lnTo>
                    <a:lnTo>
                      <a:pt x="250" y="270"/>
                    </a:lnTo>
                    <a:lnTo>
                      <a:pt x="238" y="280"/>
                    </a:lnTo>
                    <a:lnTo>
                      <a:pt x="226" y="288"/>
                    </a:lnTo>
                    <a:lnTo>
                      <a:pt x="212" y="294"/>
                    </a:lnTo>
                    <a:lnTo>
                      <a:pt x="198" y="298"/>
                    </a:lnTo>
                    <a:lnTo>
                      <a:pt x="184" y="302"/>
                    </a:lnTo>
                    <a:lnTo>
                      <a:pt x="168" y="306"/>
                    </a:lnTo>
                    <a:lnTo>
                      <a:pt x="154" y="306"/>
                    </a:lnTo>
                    <a:lnTo>
                      <a:pt x="154" y="306"/>
                    </a:lnTo>
                    <a:close/>
                    <a:moveTo>
                      <a:pt x="154" y="106"/>
                    </a:moveTo>
                    <a:lnTo>
                      <a:pt x="154" y="106"/>
                    </a:lnTo>
                    <a:lnTo>
                      <a:pt x="144" y="106"/>
                    </a:lnTo>
                    <a:lnTo>
                      <a:pt x="134" y="110"/>
                    </a:lnTo>
                    <a:lnTo>
                      <a:pt x="126" y="114"/>
                    </a:lnTo>
                    <a:lnTo>
                      <a:pt x="120" y="120"/>
                    </a:lnTo>
                    <a:lnTo>
                      <a:pt x="114" y="126"/>
                    </a:lnTo>
                    <a:lnTo>
                      <a:pt x="110" y="134"/>
                    </a:lnTo>
                    <a:lnTo>
                      <a:pt x="106" y="144"/>
                    </a:lnTo>
                    <a:lnTo>
                      <a:pt x="106" y="154"/>
                    </a:lnTo>
                    <a:lnTo>
                      <a:pt x="106" y="154"/>
                    </a:lnTo>
                    <a:lnTo>
                      <a:pt x="106" y="162"/>
                    </a:lnTo>
                    <a:lnTo>
                      <a:pt x="110" y="172"/>
                    </a:lnTo>
                    <a:lnTo>
                      <a:pt x="114" y="180"/>
                    </a:lnTo>
                    <a:lnTo>
                      <a:pt x="120" y="186"/>
                    </a:lnTo>
                    <a:lnTo>
                      <a:pt x="126" y="192"/>
                    </a:lnTo>
                    <a:lnTo>
                      <a:pt x="134" y="198"/>
                    </a:lnTo>
                    <a:lnTo>
                      <a:pt x="144" y="200"/>
                    </a:lnTo>
                    <a:lnTo>
                      <a:pt x="154" y="200"/>
                    </a:lnTo>
                    <a:lnTo>
                      <a:pt x="154" y="200"/>
                    </a:lnTo>
                    <a:lnTo>
                      <a:pt x="162" y="200"/>
                    </a:lnTo>
                    <a:lnTo>
                      <a:pt x="172" y="198"/>
                    </a:lnTo>
                    <a:lnTo>
                      <a:pt x="180" y="192"/>
                    </a:lnTo>
                    <a:lnTo>
                      <a:pt x="186" y="186"/>
                    </a:lnTo>
                    <a:lnTo>
                      <a:pt x="192" y="180"/>
                    </a:lnTo>
                    <a:lnTo>
                      <a:pt x="196" y="172"/>
                    </a:lnTo>
                    <a:lnTo>
                      <a:pt x="200" y="162"/>
                    </a:lnTo>
                    <a:lnTo>
                      <a:pt x="200" y="154"/>
                    </a:lnTo>
                    <a:lnTo>
                      <a:pt x="200" y="154"/>
                    </a:lnTo>
                    <a:lnTo>
                      <a:pt x="200" y="144"/>
                    </a:lnTo>
                    <a:lnTo>
                      <a:pt x="196" y="134"/>
                    </a:lnTo>
                    <a:lnTo>
                      <a:pt x="192" y="126"/>
                    </a:lnTo>
                    <a:lnTo>
                      <a:pt x="186" y="120"/>
                    </a:lnTo>
                    <a:lnTo>
                      <a:pt x="180" y="114"/>
                    </a:lnTo>
                    <a:lnTo>
                      <a:pt x="172" y="110"/>
                    </a:lnTo>
                    <a:lnTo>
                      <a:pt x="162" y="106"/>
                    </a:lnTo>
                    <a:lnTo>
                      <a:pt x="154" y="106"/>
                    </a:lnTo>
                    <a:lnTo>
                      <a:pt x="154"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22" name="Freeform 9"/>
              <p:cNvSpPr>
                <a:spLocks/>
              </p:cNvSpPr>
              <p:nvPr/>
            </p:nvSpPr>
            <p:spPr bwMode="auto">
              <a:xfrm>
                <a:off x="5875176" y="3006268"/>
                <a:ext cx="190168" cy="102957"/>
              </a:xfrm>
              <a:custGeom>
                <a:avLst/>
                <a:gdLst>
                  <a:gd name="T0" fmla="*/ 262 w 314"/>
                  <a:gd name="T1" fmla="*/ 170 h 170"/>
                  <a:gd name="T2" fmla="*/ 262 w 314"/>
                  <a:gd name="T3" fmla="*/ 170 h 170"/>
                  <a:gd name="T4" fmla="*/ 254 w 314"/>
                  <a:gd name="T5" fmla="*/ 170 h 170"/>
                  <a:gd name="T6" fmla="*/ 246 w 314"/>
                  <a:gd name="T7" fmla="*/ 168 h 170"/>
                  <a:gd name="T8" fmla="*/ 36 w 314"/>
                  <a:gd name="T9" fmla="*/ 104 h 170"/>
                  <a:gd name="T10" fmla="*/ 36 w 314"/>
                  <a:gd name="T11" fmla="*/ 104 h 170"/>
                  <a:gd name="T12" fmla="*/ 26 w 314"/>
                  <a:gd name="T13" fmla="*/ 100 h 170"/>
                  <a:gd name="T14" fmla="*/ 18 w 314"/>
                  <a:gd name="T15" fmla="*/ 94 h 170"/>
                  <a:gd name="T16" fmla="*/ 10 w 314"/>
                  <a:gd name="T17" fmla="*/ 86 h 170"/>
                  <a:gd name="T18" fmla="*/ 6 w 314"/>
                  <a:gd name="T19" fmla="*/ 78 h 170"/>
                  <a:gd name="T20" fmla="*/ 2 w 314"/>
                  <a:gd name="T21" fmla="*/ 68 h 170"/>
                  <a:gd name="T22" fmla="*/ 0 w 314"/>
                  <a:gd name="T23" fmla="*/ 58 h 170"/>
                  <a:gd name="T24" fmla="*/ 0 w 314"/>
                  <a:gd name="T25" fmla="*/ 48 h 170"/>
                  <a:gd name="T26" fmla="*/ 2 w 314"/>
                  <a:gd name="T27" fmla="*/ 38 h 170"/>
                  <a:gd name="T28" fmla="*/ 2 w 314"/>
                  <a:gd name="T29" fmla="*/ 38 h 170"/>
                  <a:gd name="T30" fmla="*/ 6 w 314"/>
                  <a:gd name="T31" fmla="*/ 28 h 170"/>
                  <a:gd name="T32" fmla="*/ 12 w 314"/>
                  <a:gd name="T33" fmla="*/ 20 h 170"/>
                  <a:gd name="T34" fmla="*/ 18 w 314"/>
                  <a:gd name="T35" fmla="*/ 12 h 170"/>
                  <a:gd name="T36" fmla="*/ 28 w 314"/>
                  <a:gd name="T37" fmla="*/ 6 h 170"/>
                  <a:gd name="T38" fmla="*/ 36 w 314"/>
                  <a:gd name="T39" fmla="*/ 2 h 170"/>
                  <a:gd name="T40" fmla="*/ 46 w 314"/>
                  <a:gd name="T41" fmla="*/ 0 h 170"/>
                  <a:gd name="T42" fmla="*/ 56 w 314"/>
                  <a:gd name="T43" fmla="*/ 0 h 170"/>
                  <a:gd name="T44" fmla="*/ 68 w 314"/>
                  <a:gd name="T45" fmla="*/ 4 h 170"/>
                  <a:gd name="T46" fmla="*/ 278 w 314"/>
                  <a:gd name="T47" fmla="*/ 68 h 170"/>
                  <a:gd name="T48" fmla="*/ 278 w 314"/>
                  <a:gd name="T49" fmla="*/ 68 h 170"/>
                  <a:gd name="T50" fmla="*/ 286 w 314"/>
                  <a:gd name="T51" fmla="*/ 72 h 170"/>
                  <a:gd name="T52" fmla="*/ 296 w 314"/>
                  <a:gd name="T53" fmla="*/ 78 h 170"/>
                  <a:gd name="T54" fmla="*/ 302 w 314"/>
                  <a:gd name="T55" fmla="*/ 86 h 170"/>
                  <a:gd name="T56" fmla="*/ 308 w 314"/>
                  <a:gd name="T57" fmla="*/ 94 h 170"/>
                  <a:gd name="T58" fmla="*/ 312 w 314"/>
                  <a:gd name="T59" fmla="*/ 104 h 170"/>
                  <a:gd name="T60" fmla="*/ 314 w 314"/>
                  <a:gd name="T61" fmla="*/ 114 h 170"/>
                  <a:gd name="T62" fmla="*/ 314 w 314"/>
                  <a:gd name="T63" fmla="*/ 124 h 170"/>
                  <a:gd name="T64" fmla="*/ 312 w 314"/>
                  <a:gd name="T65" fmla="*/ 134 h 170"/>
                  <a:gd name="T66" fmla="*/ 312 w 314"/>
                  <a:gd name="T67" fmla="*/ 134 h 170"/>
                  <a:gd name="T68" fmla="*/ 308 w 314"/>
                  <a:gd name="T69" fmla="*/ 142 h 170"/>
                  <a:gd name="T70" fmla="*/ 304 w 314"/>
                  <a:gd name="T71" fmla="*/ 150 h 170"/>
                  <a:gd name="T72" fmla="*/ 298 w 314"/>
                  <a:gd name="T73" fmla="*/ 156 h 170"/>
                  <a:gd name="T74" fmla="*/ 292 w 314"/>
                  <a:gd name="T75" fmla="*/ 160 h 170"/>
                  <a:gd name="T76" fmla="*/ 286 w 314"/>
                  <a:gd name="T77" fmla="*/ 166 h 170"/>
                  <a:gd name="T78" fmla="*/ 278 w 314"/>
                  <a:gd name="T79" fmla="*/ 168 h 170"/>
                  <a:gd name="T80" fmla="*/ 270 w 314"/>
                  <a:gd name="T81" fmla="*/ 170 h 170"/>
                  <a:gd name="T82" fmla="*/ 262 w 314"/>
                  <a:gd name="T83" fmla="*/ 170 h 170"/>
                  <a:gd name="T84" fmla="*/ 262 w 314"/>
                  <a:gd name="T85"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4" h="170">
                    <a:moveTo>
                      <a:pt x="262" y="170"/>
                    </a:moveTo>
                    <a:lnTo>
                      <a:pt x="262" y="170"/>
                    </a:lnTo>
                    <a:lnTo>
                      <a:pt x="254" y="170"/>
                    </a:lnTo>
                    <a:lnTo>
                      <a:pt x="246" y="168"/>
                    </a:lnTo>
                    <a:lnTo>
                      <a:pt x="36" y="104"/>
                    </a:lnTo>
                    <a:lnTo>
                      <a:pt x="36" y="104"/>
                    </a:lnTo>
                    <a:lnTo>
                      <a:pt x="26" y="100"/>
                    </a:lnTo>
                    <a:lnTo>
                      <a:pt x="18" y="94"/>
                    </a:lnTo>
                    <a:lnTo>
                      <a:pt x="10" y="86"/>
                    </a:lnTo>
                    <a:lnTo>
                      <a:pt x="6" y="78"/>
                    </a:lnTo>
                    <a:lnTo>
                      <a:pt x="2" y="68"/>
                    </a:lnTo>
                    <a:lnTo>
                      <a:pt x="0" y="58"/>
                    </a:lnTo>
                    <a:lnTo>
                      <a:pt x="0" y="48"/>
                    </a:lnTo>
                    <a:lnTo>
                      <a:pt x="2" y="38"/>
                    </a:lnTo>
                    <a:lnTo>
                      <a:pt x="2" y="38"/>
                    </a:lnTo>
                    <a:lnTo>
                      <a:pt x="6" y="28"/>
                    </a:lnTo>
                    <a:lnTo>
                      <a:pt x="12" y="20"/>
                    </a:lnTo>
                    <a:lnTo>
                      <a:pt x="18" y="12"/>
                    </a:lnTo>
                    <a:lnTo>
                      <a:pt x="28" y="6"/>
                    </a:lnTo>
                    <a:lnTo>
                      <a:pt x="36" y="2"/>
                    </a:lnTo>
                    <a:lnTo>
                      <a:pt x="46" y="0"/>
                    </a:lnTo>
                    <a:lnTo>
                      <a:pt x="56" y="0"/>
                    </a:lnTo>
                    <a:lnTo>
                      <a:pt x="68" y="4"/>
                    </a:lnTo>
                    <a:lnTo>
                      <a:pt x="278" y="68"/>
                    </a:lnTo>
                    <a:lnTo>
                      <a:pt x="278" y="68"/>
                    </a:lnTo>
                    <a:lnTo>
                      <a:pt x="286" y="72"/>
                    </a:lnTo>
                    <a:lnTo>
                      <a:pt x="296" y="78"/>
                    </a:lnTo>
                    <a:lnTo>
                      <a:pt x="302" y="86"/>
                    </a:lnTo>
                    <a:lnTo>
                      <a:pt x="308" y="94"/>
                    </a:lnTo>
                    <a:lnTo>
                      <a:pt x="312" y="104"/>
                    </a:lnTo>
                    <a:lnTo>
                      <a:pt x="314" y="114"/>
                    </a:lnTo>
                    <a:lnTo>
                      <a:pt x="314" y="124"/>
                    </a:lnTo>
                    <a:lnTo>
                      <a:pt x="312" y="134"/>
                    </a:lnTo>
                    <a:lnTo>
                      <a:pt x="312" y="134"/>
                    </a:lnTo>
                    <a:lnTo>
                      <a:pt x="308" y="142"/>
                    </a:lnTo>
                    <a:lnTo>
                      <a:pt x="304" y="150"/>
                    </a:lnTo>
                    <a:lnTo>
                      <a:pt x="298" y="156"/>
                    </a:lnTo>
                    <a:lnTo>
                      <a:pt x="292" y="160"/>
                    </a:lnTo>
                    <a:lnTo>
                      <a:pt x="286" y="166"/>
                    </a:lnTo>
                    <a:lnTo>
                      <a:pt x="278" y="168"/>
                    </a:lnTo>
                    <a:lnTo>
                      <a:pt x="270" y="170"/>
                    </a:lnTo>
                    <a:lnTo>
                      <a:pt x="262" y="170"/>
                    </a:lnTo>
                    <a:lnTo>
                      <a:pt x="262" y="170"/>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23" name="Freeform 10"/>
              <p:cNvSpPr>
                <a:spLocks/>
              </p:cNvSpPr>
              <p:nvPr/>
            </p:nvSpPr>
            <p:spPr bwMode="auto">
              <a:xfrm>
                <a:off x="6123485" y="2952972"/>
                <a:ext cx="202281" cy="156253"/>
              </a:xfrm>
              <a:custGeom>
                <a:avLst/>
                <a:gdLst>
                  <a:gd name="T0" fmla="*/ 52 w 334"/>
                  <a:gd name="T1" fmla="*/ 258 h 258"/>
                  <a:gd name="T2" fmla="*/ 52 w 334"/>
                  <a:gd name="T3" fmla="*/ 258 h 258"/>
                  <a:gd name="T4" fmla="*/ 40 w 334"/>
                  <a:gd name="T5" fmla="*/ 258 h 258"/>
                  <a:gd name="T6" fmla="*/ 28 w 334"/>
                  <a:gd name="T7" fmla="*/ 252 h 258"/>
                  <a:gd name="T8" fmla="*/ 16 w 334"/>
                  <a:gd name="T9" fmla="*/ 246 h 258"/>
                  <a:gd name="T10" fmla="*/ 8 w 334"/>
                  <a:gd name="T11" fmla="*/ 236 h 258"/>
                  <a:gd name="T12" fmla="*/ 8 w 334"/>
                  <a:gd name="T13" fmla="*/ 236 h 258"/>
                  <a:gd name="T14" fmla="*/ 4 w 334"/>
                  <a:gd name="T15" fmla="*/ 226 h 258"/>
                  <a:gd name="T16" fmla="*/ 0 w 334"/>
                  <a:gd name="T17" fmla="*/ 216 h 258"/>
                  <a:gd name="T18" fmla="*/ 0 w 334"/>
                  <a:gd name="T19" fmla="*/ 206 h 258"/>
                  <a:gd name="T20" fmla="*/ 0 w 334"/>
                  <a:gd name="T21" fmla="*/ 196 h 258"/>
                  <a:gd name="T22" fmla="*/ 4 w 334"/>
                  <a:gd name="T23" fmla="*/ 186 h 258"/>
                  <a:gd name="T24" fmla="*/ 8 w 334"/>
                  <a:gd name="T25" fmla="*/ 178 h 258"/>
                  <a:gd name="T26" fmla="*/ 14 w 334"/>
                  <a:gd name="T27" fmla="*/ 170 h 258"/>
                  <a:gd name="T28" fmla="*/ 22 w 334"/>
                  <a:gd name="T29" fmla="*/ 162 h 258"/>
                  <a:gd name="T30" fmla="*/ 252 w 334"/>
                  <a:gd name="T31" fmla="*/ 8 h 258"/>
                  <a:gd name="T32" fmla="*/ 252 w 334"/>
                  <a:gd name="T33" fmla="*/ 8 h 258"/>
                  <a:gd name="T34" fmla="*/ 262 w 334"/>
                  <a:gd name="T35" fmla="*/ 4 h 258"/>
                  <a:gd name="T36" fmla="*/ 272 w 334"/>
                  <a:gd name="T37" fmla="*/ 0 h 258"/>
                  <a:gd name="T38" fmla="*/ 282 w 334"/>
                  <a:gd name="T39" fmla="*/ 0 h 258"/>
                  <a:gd name="T40" fmla="*/ 292 w 334"/>
                  <a:gd name="T41" fmla="*/ 0 h 258"/>
                  <a:gd name="T42" fmla="*/ 302 w 334"/>
                  <a:gd name="T43" fmla="*/ 4 h 258"/>
                  <a:gd name="T44" fmla="*/ 310 w 334"/>
                  <a:gd name="T45" fmla="*/ 8 h 258"/>
                  <a:gd name="T46" fmla="*/ 318 w 334"/>
                  <a:gd name="T47" fmla="*/ 14 h 258"/>
                  <a:gd name="T48" fmla="*/ 326 w 334"/>
                  <a:gd name="T49" fmla="*/ 22 h 258"/>
                  <a:gd name="T50" fmla="*/ 326 w 334"/>
                  <a:gd name="T51" fmla="*/ 22 h 258"/>
                  <a:gd name="T52" fmla="*/ 330 w 334"/>
                  <a:gd name="T53" fmla="*/ 32 h 258"/>
                  <a:gd name="T54" fmla="*/ 334 w 334"/>
                  <a:gd name="T55" fmla="*/ 42 h 258"/>
                  <a:gd name="T56" fmla="*/ 334 w 334"/>
                  <a:gd name="T57" fmla="*/ 52 h 258"/>
                  <a:gd name="T58" fmla="*/ 334 w 334"/>
                  <a:gd name="T59" fmla="*/ 62 h 258"/>
                  <a:gd name="T60" fmla="*/ 330 w 334"/>
                  <a:gd name="T61" fmla="*/ 72 h 258"/>
                  <a:gd name="T62" fmla="*/ 326 w 334"/>
                  <a:gd name="T63" fmla="*/ 80 h 258"/>
                  <a:gd name="T64" fmla="*/ 320 w 334"/>
                  <a:gd name="T65" fmla="*/ 88 h 258"/>
                  <a:gd name="T66" fmla="*/ 312 w 334"/>
                  <a:gd name="T67" fmla="*/ 96 h 258"/>
                  <a:gd name="T68" fmla="*/ 82 w 334"/>
                  <a:gd name="T69" fmla="*/ 250 h 258"/>
                  <a:gd name="T70" fmla="*/ 82 w 334"/>
                  <a:gd name="T71" fmla="*/ 250 h 258"/>
                  <a:gd name="T72" fmla="*/ 74 w 334"/>
                  <a:gd name="T73" fmla="*/ 254 h 258"/>
                  <a:gd name="T74" fmla="*/ 66 w 334"/>
                  <a:gd name="T75" fmla="*/ 256 h 258"/>
                  <a:gd name="T76" fmla="*/ 52 w 334"/>
                  <a:gd name="T77" fmla="*/ 258 h 258"/>
                  <a:gd name="T78" fmla="*/ 52 w 334"/>
                  <a:gd name="T7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4" h="258">
                    <a:moveTo>
                      <a:pt x="52" y="258"/>
                    </a:moveTo>
                    <a:lnTo>
                      <a:pt x="52" y="258"/>
                    </a:lnTo>
                    <a:lnTo>
                      <a:pt x="40" y="258"/>
                    </a:lnTo>
                    <a:lnTo>
                      <a:pt x="28" y="252"/>
                    </a:lnTo>
                    <a:lnTo>
                      <a:pt x="16" y="246"/>
                    </a:lnTo>
                    <a:lnTo>
                      <a:pt x="8" y="236"/>
                    </a:lnTo>
                    <a:lnTo>
                      <a:pt x="8" y="236"/>
                    </a:lnTo>
                    <a:lnTo>
                      <a:pt x="4" y="226"/>
                    </a:lnTo>
                    <a:lnTo>
                      <a:pt x="0" y="216"/>
                    </a:lnTo>
                    <a:lnTo>
                      <a:pt x="0" y="206"/>
                    </a:lnTo>
                    <a:lnTo>
                      <a:pt x="0" y="196"/>
                    </a:lnTo>
                    <a:lnTo>
                      <a:pt x="4" y="186"/>
                    </a:lnTo>
                    <a:lnTo>
                      <a:pt x="8" y="178"/>
                    </a:lnTo>
                    <a:lnTo>
                      <a:pt x="14" y="170"/>
                    </a:lnTo>
                    <a:lnTo>
                      <a:pt x="22" y="162"/>
                    </a:lnTo>
                    <a:lnTo>
                      <a:pt x="252" y="8"/>
                    </a:lnTo>
                    <a:lnTo>
                      <a:pt x="252" y="8"/>
                    </a:lnTo>
                    <a:lnTo>
                      <a:pt x="262" y="4"/>
                    </a:lnTo>
                    <a:lnTo>
                      <a:pt x="272" y="0"/>
                    </a:lnTo>
                    <a:lnTo>
                      <a:pt x="282" y="0"/>
                    </a:lnTo>
                    <a:lnTo>
                      <a:pt x="292" y="0"/>
                    </a:lnTo>
                    <a:lnTo>
                      <a:pt x="302" y="4"/>
                    </a:lnTo>
                    <a:lnTo>
                      <a:pt x="310" y="8"/>
                    </a:lnTo>
                    <a:lnTo>
                      <a:pt x="318" y="14"/>
                    </a:lnTo>
                    <a:lnTo>
                      <a:pt x="326" y="22"/>
                    </a:lnTo>
                    <a:lnTo>
                      <a:pt x="326" y="22"/>
                    </a:lnTo>
                    <a:lnTo>
                      <a:pt x="330" y="32"/>
                    </a:lnTo>
                    <a:lnTo>
                      <a:pt x="334" y="42"/>
                    </a:lnTo>
                    <a:lnTo>
                      <a:pt x="334" y="52"/>
                    </a:lnTo>
                    <a:lnTo>
                      <a:pt x="334" y="62"/>
                    </a:lnTo>
                    <a:lnTo>
                      <a:pt x="330" y="72"/>
                    </a:lnTo>
                    <a:lnTo>
                      <a:pt x="326" y="80"/>
                    </a:lnTo>
                    <a:lnTo>
                      <a:pt x="320" y="88"/>
                    </a:lnTo>
                    <a:lnTo>
                      <a:pt x="312" y="96"/>
                    </a:lnTo>
                    <a:lnTo>
                      <a:pt x="82" y="250"/>
                    </a:lnTo>
                    <a:lnTo>
                      <a:pt x="82" y="250"/>
                    </a:lnTo>
                    <a:lnTo>
                      <a:pt x="74" y="254"/>
                    </a:lnTo>
                    <a:lnTo>
                      <a:pt x="66" y="256"/>
                    </a:lnTo>
                    <a:lnTo>
                      <a:pt x="52" y="258"/>
                    </a:lnTo>
                    <a:lnTo>
                      <a:pt x="52" y="25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24" name="Freeform 11"/>
              <p:cNvSpPr>
                <a:spLocks/>
              </p:cNvSpPr>
              <p:nvPr/>
            </p:nvSpPr>
            <p:spPr bwMode="auto">
              <a:xfrm>
                <a:off x="5628079" y="3026859"/>
                <a:ext cx="208337" cy="180478"/>
              </a:xfrm>
              <a:custGeom>
                <a:avLst/>
                <a:gdLst>
                  <a:gd name="T0" fmla="*/ 52 w 344"/>
                  <a:gd name="T1" fmla="*/ 298 h 298"/>
                  <a:gd name="T2" fmla="*/ 52 w 344"/>
                  <a:gd name="T3" fmla="*/ 298 h 298"/>
                  <a:gd name="T4" fmla="*/ 42 w 344"/>
                  <a:gd name="T5" fmla="*/ 298 h 298"/>
                  <a:gd name="T6" fmla="*/ 30 w 344"/>
                  <a:gd name="T7" fmla="*/ 294 h 298"/>
                  <a:gd name="T8" fmla="*/ 20 w 344"/>
                  <a:gd name="T9" fmla="*/ 288 h 298"/>
                  <a:gd name="T10" fmla="*/ 12 w 344"/>
                  <a:gd name="T11" fmla="*/ 278 h 298"/>
                  <a:gd name="T12" fmla="*/ 12 w 344"/>
                  <a:gd name="T13" fmla="*/ 278 h 298"/>
                  <a:gd name="T14" fmla="*/ 6 w 344"/>
                  <a:gd name="T15" fmla="*/ 270 h 298"/>
                  <a:gd name="T16" fmla="*/ 2 w 344"/>
                  <a:gd name="T17" fmla="*/ 260 h 298"/>
                  <a:gd name="T18" fmla="*/ 0 w 344"/>
                  <a:gd name="T19" fmla="*/ 250 h 298"/>
                  <a:gd name="T20" fmla="*/ 0 w 344"/>
                  <a:gd name="T21" fmla="*/ 240 h 298"/>
                  <a:gd name="T22" fmla="*/ 2 w 344"/>
                  <a:gd name="T23" fmla="*/ 230 h 298"/>
                  <a:gd name="T24" fmla="*/ 6 w 344"/>
                  <a:gd name="T25" fmla="*/ 220 h 298"/>
                  <a:gd name="T26" fmla="*/ 12 w 344"/>
                  <a:gd name="T27" fmla="*/ 212 h 298"/>
                  <a:gd name="T28" fmla="*/ 20 w 344"/>
                  <a:gd name="T29" fmla="*/ 204 h 298"/>
                  <a:gd name="T30" fmla="*/ 260 w 344"/>
                  <a:gd name="T31" fmla="*/ 10 h 298"/>
                  <a:gd name="T32" fmla="*/ 260 w 344"/>
                  <a:gd name="T33" fmla="*/ 10 h 298"/>
                  <a:gd name="T34" fmla="*/ 268 w 344"/>
                  <a:gd name="T35" fmla="*/ 6 h 298"/>
                  <a:gd name="T36" fmla="*/ 278 w 344"/>
                  <a:gd name="T37" fmla="*/ 2 h 298"/>
                  <a:gd name="T38" fmla="*/ 288 w 344"/>
                  <a:gd name="T39" fmla="*/ 0 h 298"/>
                  <a:gd name="T40" fmla="*/ 298 w 344"/>
                  <a:gd name="T41" fmla="*/ 0 h 298"/>
                  <a:gd name="T42" fmla="*/ 308 w 344"/>
                  <a:gd name="T43" fmla="*/ 2 h 298"/>
                  <a:gd name="T44" fmla="*/ 318 w 344"/>
                  <a:gd name="T45" fmla="*/ 6 h 298"/>
                  <a:gd name="T46" fmla="*/ 326 w 344"/>
                  <a:gd name="T47" fmla="*/ 12 h 298"/>
                  <a:gd name="T48" fmla="*/ 334 w 344"/>
                  <a:gd name="T49" fmla="*/ 18 h 298"/>
                  <a:gd name="T50" fmla="*/ 334 w 344"/>
                  <a:gd name="T51" fmla="*/ 18 h 298"/>
                  <a:gd name="T52" fmla="*/ 340 w 344"/>
                  <a:gd name="T53" fmla="*/ 28 h 298"/>
                  <a:gd name="T54" fmla="*/ 344 w 344"/>
                  <a:gd name="T55" fmla="*/ 38 h 298"/>
                  <a:gd name="T56" fmla="*/ 344 w 344"/>
                  <a:gd name="T57" fmla="*/ 48 h 298"/>
                  <a:gd name="T58" fmla="*/ 344 w 344"/>
                  <a:gd name="T59" fmla="*/ 58 h 298"/>
                  <a:gd name="T60" fmla="*/ 342 w 344"/>
                  <a:gd name="T61" fmla="*/ 68 h 298"/>
                  <a:gd name="T62" fmla="*/ 338 w 344"/>
                  <a:gd name="T63" fmla="*/ 76 h 298"/>
                  <a:gd name="T64" fmla="*/ 334 w 344"/>
                  <a:gd name="T65" fmla="*/ 86 h 298"/>
                  <a:gd name="T66" fmla="*/ 326 w 344"/>
                  <a:gd name="T67" fmla="*/ 92 h 298"/>
                  <a:gd name="T68" fmla="*/ 86 w 344"/>
                  <a:gd name="T69" fmla="*/ 286 h 298"/>
                  <a:gd name="T70" fmla="*/ 86 w 344"/>
                  <a:gd name="T71" fmla="*/ 286 h 298"/>
                  <a:gd name="T72" fmla="*/ 78 w 344"/>
                  <a:gd name="T73" fmla="*/ 292 h 298"/>
                  <a:gd name="T74" fmla="*/ 70 w 344"/>
                  <a:gd name="T75" fmla="*/ 296 h 298"/>
                  <a:gd name="T76" fmla="*/ 62 w 344"/>
                  <a:gd name="T77" fmla="*/ 298 h 298"/>
                  <a:gd name="T78" fmla="*/ 52 w 344"/>
                  <a:gd name="T79" fmla="*/ 298 h 298"/>
                  <a:gd name="T80" fmla="*/ 52 w 344"/>
                  <a:gd name="T8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4" h="298">
                    <a:moveTo>
                      <a:pt x="52" y="298"/>
                    </a:moveTo>
                    <a:lnTo>
                      <a:pt x="52" y="298"/>
                    </a:lnTo>
                    <a:lnTo>
                      <a:pt x="42" y="298"/>
                    </a:lnTo>
                    <a:lnTo>
                      <a:pt x="30" y="294"/>
                    </a:lnTo>
                    <a:lnTo>
                      <a:pt x="20" y="288"/>
                    </a:lnTo>
                    <a:lnTo>
                      <a:pt x="12" y="278"/>
                    </a:lnTo>
                    <a:lnTo>
                      <a:pt x="12" y="278"/>
                    </a:lnTo>
                    <a:lnTo>
                      <a:pt x="6" y="270"/>
                    </a:lnTo>
                    <a:lnTo>
                      <a:pt x="2" y="260"/>
                    </a:lnTo>
                    <a:lnTo>
                      <a:pt x="0" y="250"/>
                    </a:lnTo>
                    <a:lnTo>
                      <a:pt x="0" y="240"/>
                    </a:lnTo>
                    <a:lnTo>
                      <a:pt x="2" y="230"/>
                    </a:lnTo>
                    <a:lnTo>
                      <a:pt x="6" y="220"/>
                    </a:lnTo>
                    <a:lnTo>
                      <a:pt x="12" y="212"/>
                    </a:lnTo>
                    <a:lnTo>
                      <a:pt x="20" y="204"/>
                    </a:lnTo>
                    <a:lnTo>
                      <a:pt x="260" y="10"/>
                    </a:lnTo>
                    <a:lnTo>
                      <a:pt x="260" y="10"/>
                    </a:lnTo>
                    <a:lnTo>
                      <a:pt x="268" y="6"/>
                    </a:lnTo>
                    <a:lnTo>
                      <a:pt x="278" y="2"/>
                    </a:lnTo>
                    <a:lnTo>
                      <a:pt x="288" y="0"/>
                    </a:lnTo>
                    <a:lnTo>
                      <a:pt x="298" y="0"/>
                    </a:lnTo>
                    <a:lnTo>
                      <a:pt x="308" y="2"/>
                    </a:lnTo>
                    <a:lnTo>
                      <a:pt x="318" y="6"/>
                    </a:lnTo>
                    <a:lnTo>
                      <a:pt x="326" y="12"/>
                    </a:lnTo>
                    <a:lnTo>
                      <a:pt x="334" y="18"/>
                    </a:lnTo>
                    <a:lnTo>
                      <a:pt x="334" y="18"/>
                    </a:lnTo>
                    <a:lnTo>
                      <a:pt x="340" y="28"/>
                    </a:lnTo>
                    <a:lnTo>
                      <a:pt x="344" y="38"/>
                    </a:lnTo>
                    <a:lnTo>
                      <a:pt x="344" y="48"/>
                    </a:lnTo>
                    <a:lnTo>
                      <a:pt x="344" y="58"/>
                    </a:lnTo>
                    <a:lnTo>
                      <a:pt x="342" y="68"/>
                    </a:lnTo>
                    <a:lnTo>
                      <a:pt x="338" y="76"/>
                    </a:lnTo>
                    <a:lnTo>
                      <a:pt x="334" y="86"/>
                    </a:lnTo>
                    <a:lnTo>
                      <a:pt x="326" y="92"/>
                    </a:lnTo>
                    <a:lnTo>
                      <a:pt x="86" y="286"/>
                    </a:lnTo>
                    <a:lnTo>
                      <a:pt x="86" y="286"/>
                    </a:lnTo>
                    <a:lnTo>
                      <a:pt x="78" y="292"/>
                    </a:lnTo>
                    <a:lnTo>
                      <a:pt x="70" y="296"/>
                    </a:lnTo>
                    <a:lnTo>
                      <a:pt x="62" y="298"/>
                    </a:lnTo>
                    <a:lnTo>
                      <a:pt x="52" y="298"/>
                    </a:lnTo>
                    <a:lnTo>
                      <a:pt x="52" y="29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25" name="Oval 24"/>
              <p:cNvSpPr/>
              <p:nvPr/>
            </p:nvSpPr>
            <p:spPr bwMode="auto">
              <a:xfrm>
                <a:off x="5413104" y="2598477"/>
                <a:ext cx="1326042" cy="1326043"/>
              </a:xfrm>
              <a:prstGeom prst="ellipse">
                <a:avLst/>
              </a:prstGeom>
              <a:noFill/>
              <a:ln w="5715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6" name="Group 25"/>
          <p:cNvGrpSpPr/>
          <p:nvPr userDrawn="1"/>
        </p:nvGrpSpPr>
        <p:grpSpPr>
          <a:xfrm rot="16200000">
            <a:off x="2740442" y="3859666"/>
            <a:ext cx="186070" cy="5666952"/>
            <a:chOff x="9312007" y="34787"/>
            <a:chExt cx="1212906" cy="3143923"/>
          </a:xfrm>
        </p:grpSpPr>
        <p:sp>
          <p:nvSpPr>
            <p:cNvPr id="27" name="Bent Arrow 26"/>
            <p:cNvSpPr/>
            <p:nvPr/>
          </p:nvSpPr>
          <p:spPr bwMode="auto">
            <a:xfrm flipH="1">
              <a:off x="9832459" y="1745357"/>
              <a:ext cx="692454" cy="1433353"/>
            </a:xfrm>
            <a:prstGeom prst="bentArrow">
              <a:avLst>
                <a:gd name="adj1" fmla="val 25000"/>
                <a:gd name="adj2" fmla="val 0"/>
                <a:gd name="adj3" fmla="val 25000"/>
                <a:gd name="adj4" fmla="val 75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28" name="Bent Arrow 27"/>
            <p:cNvSpPr/>
            <p:nvPr/>
          </p:nvSpPr>
          <p:spPr bwMode="auto">
            <a:xfrm rot="10800000" flipH="1">
              <a:off x="9312007" y="34787"/>
              <a:ext cx="805099" cy="1711160"/>
            </a:xfrm>
            <a:prstGeom prst="bentArrow">
              <a:avLst>
                <a:gd name="adj1" fmla="val 25000"/>
                <a:gd name="adj2" fmla="val 0"/>
                <a:gd name="adj3" fmla="val 25000"/>
                <a:gd name="adj4" fmla="val 52871"/>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grpSp>
      <p:sp>
        <p:nvSpPr>
          <p:cNvPr id="29" name="Bent Arrow 28"/>
          <p:cNvSpPr/>
          <p:nvPr userDrawn="1"/>
        </p:nvSpPr>
        <p:spPr bwMode="auto">
          <a:xfrm>
            <a:off x="5800305" y="6820877"/>
            <a:ext cx="3896736" cy="166767"/>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40" name="Bent Arrow 39"/>
          <p:cNvSpPr/>
          <p:nvPr userDrawn="1"/>
        </p:nvSpPr>
        <p:spPr bwMode="auto">
          <a:xfrm rot="10800000" flipH="1">
            <a:off x="2090781" y="5824226"/>
            <a:ext cx="8001150" cy="772911"/>
          </a:xfrm>
          <a:prstGeom prst="bentArrow">
            <a:avLst>
              <a:gd name="adj1" fmla="val 25000"/>
              <a:gd name="adj2" fmla="val 0"/>
              <a:gd name="adj3" fmla="val 25000"/>
              <a:gd name="adj4" fmla="val 20518"/>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44" name="Bent Arrow 43"/>
          <p:cNvSpPr/>
          <p:nvPr userDrawn="1"/>
        </p:nvSpPr>
        <p:spPr bwMode="auto">
          <a:xfrm rot="10800000">
            <a:off x="11449450" y="6428114"/>
            <a:ext cx="723540" cy="271351"/>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userDrawn="1"/>
        </p:nvSpPr>
        <p:spPr bwMode="auto">
          <a:xfrm>
            <a:off x="0" y="5482956"/>
            <a:ext cx="12436475" cy="97641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dirty="0">
              <a:solidFill>
                <a:schemeClr val="tx1"/>
              </a:solidFill>
              <a:ea typeface="Segoe UI" pitchFamily="34" charset="0"/>
              <a:cs typeface="Segoe UI" pitchFamily="34" charset="0"/>
            </a:endParaRPr>
          </a:p>
        </p:txBody>
      </p:sp>
      <p:sp>
        <p:nvSpPr>
          <p:cNvPr id="45" name="Bent Arrow 44"/>
          <p:cNvSpPr/>
          <p:nvPr userDrawn="1"/>
        </p:nvSpPr>
        <p:spPr bwMode="auto">
          <a:xfrm rot="16200000">
            <a:off x="11768145" y="6741743"/>
            <a:ext cx="332072" cy="271390"/>
          </a:xfrm>
          <a:prstGeom prst="bentArrow">
            <a:avLst>
              <a:gd name="adj1" fmla="val 25000"/>
              <a:gd name="adj2" fmla="val 0"/>
              <a:gd name="adj3" fmla="val 25000"/>
              <a:gd name="adj4" fmla="val 15819"/>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46" name="Freeform 15"/>
          <p:cNvSpPr>
            <a:spLocks noEditPoints="1"/>
          </p:cNvSpPr>
          <p:nvPr userDrawn="1"/>
        </p:nvSpPr>
        <p:spPr bwMode="auto">
          <a:xfrm>
            <a:off x="4477245" y="6731767"/>
            <a:ext cx="123999" cy="123981"/>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47" name="Freeform 18"/>
          <p:cNvSpPr>
            <a:spLocks/>
          </p:cNvSpPr>
          <p:nvPr userDrawn="1"/>
        </p:nvSpPr>
        <p:spPr bwMode="auto">
          <a:xfrm>
            <a:off x="4520500" y="6591208"/>
            <a:ext cx="38209" cy="126864"/>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49" name="Rectangle 48"/>
          <p:cNvSpPr/>
          <p:nvPr userDrawn="1"/>
        </p:nvSpPr>
        <p:spPr bwMode="auto">
          <a:xfrm>
            <a:off x="-221962" y="6994525"/>
            <a:ext cx="12784400" cy="799374"/>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dirty="0">
              <a:solidFill>
                <a:schemeClr val="tx1"/>
              </a:solidFill>
              <a:ea typeface="Segoe UI" pitchFamily="34" charset="0"/>
              <a:cs typeface="Segoe UI" pitchFamily="34" charset="0"/>
            </a:endParaRPr>
          </a:p>
        </p:txBody>
      </p:sp>
      <p:sp>
        <p:nvSpPr>
          <p:cNvPr id="52" name="Rectangle 51"/>
          <p:cNvSpPr/>
          <p:nvPr userDrawn="1"/>
        </p:nvSpPr>
        <p:spPr bwMode="auto">
          <a:xfrm>
            <a:off x="-399744" y="6195152"/>
            <a:ext cx="399744" cy="799374"/>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dirty="0">
              <a:solidFill>
                <a:schemeClr val="tx1"/>
              </a:solidFill>
              <a:ea typeface="Segoe UI" pitchFamily="34" charset="0"/>
              <a:cs typeface="Segoe UI" pitchFamily="34" charset="0"/>
            </a:endParaRPr>
          </a:p>
        </p:txBody>
      </p:sp>
      <p:sp>
        <p:nvSpPr>
          <p:cNvPr id="53" name="Rectangle 52"/>
          <p:cNvSpPr/>
          <p:nvPr userDrawn="1"/>
        </p:nvSpPr>
        <p:spPr bwMode="auto">
          <a:xfrm>
            <a:off x="0" y="6471310"/>
            <a:ext cx="12436475" cy="523216"/>
          </a:xfrm>
          <a:prstGeom prst="rect">
            <a:avLst/>
          </a:prstGeom>
          <a:solidFill>
            <a:schemeClr val="accent1">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dirty="0">
              <a:solidFill>
                <a:schemeClr val="tx1"/>
              </a:solidFill>
              <a:ea typeface="Segoe UI" pitchFamily="34" charset="0"/>
              <a:cs typeface="Segoe UI" pitchFamily="34" charset="0"/>
            </a:endParaRPr>
          </a:p>
        </p:txBody>
      </p:sp>
      <p:pic>
        <p:nvPicPr>
          <p:cNvPr id="41" name="Picture 40"/>
          <p:cNvPicPr>
            <a:picLocks noChangeAspect="1"/>
          </p:cNvPicPr>
          <p:nvPr userDrawn="1"/>
        </p:nvPicPr>
        <p:blipFill>
          <a:blip r:embed="rId2">
            <a:biLevel thresh="25000"/>
          </a:blip>
          <a:stretch>
            <a:fillRect/>
          </a:stretch>
        </p:blipFill>
        <p:spPr>
          <a:xfrm>
            <a:off x="174950" y="6620265"/>
            <a:ext cx="955390" cy="210480"/>
          </a:xfrm>
          <a:prstGeom prst="rect">
            <a:avLst/>
          </a:prstGeom>
        </p:spPr>
      </p:pic>
    </p:spTree>
    <p:extLst>
      <p:ext uri="{BB962C8B-B14F-4D97-AF65-F5344CB8AC3E}">
        <p14:creationId xmlns:p14="http://schemas.microsoft.com/office/powerpoint/2010/main" val="1604393229"/>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2_Title Slide Photo_Option">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635" y="-635"/>
            <a:ext cx="12435840" cy="6995160"/>
          </a:xfrm>
          <a:prstGeom prst="rect">
            <a:avLst/>
          </a:prstGeom>
        </p:spPr>
      </p:pic>
      <p:sp>
        <p:nvSpPr>
          <p:cNvPr id="2" name="Rectangle 1"/>
          <p:cNvSpPr/>
          <p:nvPr userDrawn="1"/>
        </p:nvSpPr>
        <p:spPr bwMode="auto">
          <a:xfrm>
            <a:off x="5757797" y="2145699"/>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761101" y="2145699"/>
            <a:ext cx="6400736" cy="1828800"/>
          </a:xfrm>
          <a:noFill/>
        </p:spPr>
        <p:txBody>
          <a:bodyPr lIns="146304" tIns="91440" rIns="146304" bIns="91440" anchor="t" anchorCtr="0"/>
          <a:lstStyle>
            <a:lvl1pPr>
              <a:defRPr sz="5400" spc="-100"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759449" y="3974479"/>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51477" y="6164262"/>
            <a:ext cx="1686560" cy="363259"/>
          </a:xfrm>
          <a:prstGeom prst="rect">
            <a:avLst/>
          </a:prstGeom>
        </p:spPr>
      </p:pic>
    </p:spTree>
    <p:extLst>
      <p:ext uri="{BB962C8B-B14F-4D97-AF65-F5344CB8AC3E}">
        <p14:creationId xmlns:p14="http://schemas.microsoft.com/office/powerpoint/2010/main" val="415252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solidFill>
                  <a:schemeClr val="bg1"/>
                </a:soli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517065"/>
          </a:xfrm>
        </p:spPr>
        <p:txBody>
          <a:bodyPr/>
          <a:lstStyle>
            <a:lvl1pPr marL="0" indent="0">
              <a:buNone/>
              <a:defRPr sz="2400">
                <a:solidFill>
                  <a:schemeClr val="bg1"/>
                </a:soli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4227270693"/>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p:bg>
      <p:bgRef idx="1001">
        <a:schemeClr val="bg1"/>
      </p:bgRef>
    </p:bg>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xfrm>
            <a:off x="457200" y="6565392"/>
            <a:ext cx="3937000" cy="137160"/>
          </a:xfrm>
          <a:prstGeom prst="rect">
            <a:avLst/>
          </a:prstGeom>
        </p:spPr>
        <p:txBody>
          <a:bodyPr/>
          <a:lstStyle>
            <a:lvl1pPr>
              <a:defRPr>
                <a:solidFill>
                  <a:schemeClr val="tx2"/>
                </a:solidFill>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sz="1800" b="0" i="0" u="none" strike="noStrike" kern="0" cap="none" spc="0" normalizeH="0" baseline="0" noProof="0" dirty="0">
                <a:ln>
                  <a:noFill/>
                </a:ln>
                <a:solidFill>
                  <a:srgbClr val="505050"/>
                </a:solidFill>
                <a:effectLst/>
                <a:uLnTx/>
                <a:uFillTx/>
              </a:rPr>
              <a:t>Microsoft Confidential</a:t>
            </a:r>
          </a:p>
        </p:txBody>
      </p:sp>
      <p:sp>
        <p:nvSpPr>
          <p:cNvPr id="6" name="Slide Number Placeholder 5"/>
          <p:cNvSpPr>
            <a:spLocks noGrp="1"/>
          </p:cNvSpPr>
          <p:nvPr>
            <p:ph type="sldNum" sz="quarter" idx="12"/>
          </p:nvPr>
        </p:nvSpPr>
        <p:spPr>
          <a:xfrm>
            <a:off x="11595101" y="6565392"/>
            <a:ext cx="566737" cy="137160"/>
          </a:xfrm>
          <a:prstGeom prst="rect">
            <a:avLst/>
          </a:prstGeom>
        </p:spPr>
        <p:txBody>
          <a:bodyPr/>
          <a:lstStyle>
            <a:lvl1pPr>
              <a:defRPr>
                <a:solidFill>
                  <a:schemeClr val="tx2"/>
                </a:solidFill>
              </a:defRPr>
            </a:lvl1pPr>
          </a:lstStyle>
          <a:p>
            <a:pPr marL="0" marR="0" lvl="0" indent="0" defTabSz="914400" eaLnBrk="1" fontAlgn="auto" latinLnBrk="0" hangingPunct="1">
              <a:lnSpc>
                <a:spcPct val="100000"/>
              </a:lnSpc>
              <a:spcBef>
                <a:spcPts val="0"/>
              </a:spcBef>
              <a:spcAft>
                <a:spcPts val="0"/>
              </a:spcAft>
              <a:buClrTx/>
              <a:buSzTx/>
              <a:buFontTx/>
              <a:buNone/>
              <a:tabLst/>
              <a:defRPr/>
            </a:pPr>
            <a:fld id="{27258FFF-F925-446B-8502-81C933981705}" type="slidenum">
              <a:rPr kumimoji="0" sz="1800" b="0" i="0" u="none" strike="noStrike" kern="0" cap="none" spc="0" normalizeH="0" baseline="0" noProof="0" smtClean="0">
                <a:ln>
                  <a:noFill/>
                </a:ln>
                <a:solidFill>
                  <a:srgbClr val="50505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a:t>
            </a:fld>
            <a:endParaRPr kumimoji="0" sz="1800" b="0" i="0" u="none" strike="noStrike" kern="0" cap="none" spc="0" normalizeH="0" baseline="0" noProof="0" dirty="0">
              <a:ln>
                <a:noFill/>
              </a:ln>
              <a:solidFill>
                <a:srgbClr val="505050"/>
              </a:solidFill>
              <a:effectLst/>
              <a:uLnTx/>
              <a:uFillTx/>
            </a:endParaRPr>
          </a:p>
        </p:txBody>
      </p:sp>
      <p:sp>
        <p:nvSpPr>
          <p:cNvPr id="7" name="Text Placeholder 4"/>
          <p:cNvSpPr>
            <a:spLocks noGrp="1"/>
          </p:cNvSpPr>
          <p:nvPr>
            <p:ph type="body" sz="quarter" idx="13"/>
          </p:nvPr>
        </p:nvSpPr>
        <p:spPr>
          <a:xfrm>
            <a:off x="274638" y="369116"/>
            <a:ext cx="10972800" cy="1024684"/>
          </a:xfrm>
          <a:prstGeom prst="rect">
            <a:avLst/>
          </a:prstGeom>
        </p:spPr>
        <p:txBody>
          <a:bodyPr lIns="146304" tIns="91440" rIns="146304" bIns="91440">
            <a:noAutofit/>
          </a:bodyPr>
          <a:lstStyle>
            <a:lvl1pPr marL="0" indent="0" algn="l" defTabSz="932742" rtl="0" eaLnBrk="1" latinLnBrk="0" hangingPunct="1">
              <a:lnSpc>
                <a:spcPct val="90000"/>
              </a:lnSpc>
              <a:spcBef>
                <a:spcPct val="0"/>
              </a:spcBef>
              <a:spcAft>
                <a:spcPts val="2400"/>
              </a:spcAft>
              <a:buFontTx/>
              <a:buNone/>
              <a:defRPr lang="en-US" sz="5800" b="0" kern="1200" cap="none" spc="-102" baseline="0" dirty="0" smtClean="0">
                <a:ln w="3175">
                  <a:noFill/>
                </a:ln>
                <a:gradFill>
                  <a:gsLst>
                    <a:gs pos="6195">
                      <a:schemeClr val="tx1"/>
                    </a:gs>
                    <a:gs pos="26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ts val="1200"/>
              </a:spcBef>
              <a:spcAft>
                <a:spcPts val="2400"/>
              </a:spcAft>
              <a:buClrTx/>
              <a:buSzPct val="90000"/>
              <a:buFontTx/>
              <a:buNone/>
              <a:tabLst/>
            </a:pPr>
            <a:r>
              <a:rPr lang="en-US" dirty="0"/>
              <a:t>Click to edit Master text</a:t>
            </a:r>
          </a:p>
        </p:txBody>
      </p:sp>
    </p:spTree>
    <p:extLst>
      <p:ext uri="{BB962C8B-B14F-4D97-AF65-F5344CB8AC3E}">
        <p14:creationId xmlns:p14="http://schemas.microsoft.com/office/powerpoint/2010/main" val="17471841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2_Title Slide Photo_Option">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635" y="-635"/>
            <a:ext cx="12435840" cy="6995160"/>
          </a:xfrm>
          <a:prstGeom prst="rect">
            <a:avLst/>
          </a:prstGeom>
        </p:spPr>
      </p:pic>
      <p:sp>
        <p:nvSpPr>
          <p:cNvPr id="2" name="Rectangle 1"/>
          <p:cNvSpPr/>
          <p:nvPr/>
        </p:nvSpPr>
        <p:spPr bwMode="auto">
          <a:xfrm>
            <a:off x="5757797" y="2145699"/>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761101" y="2145699"/>
            <a:ext cx="6400736" cy="1828800"/>
          </a:xfrm>
          <a:noFill/>
        </p:spPr>
        <p:txBody>
          <a:bodyPr lIns="146304" tIns="91440" rIns="146304" bIns="91440" anchor="t" anchorCtr="0"/>
          <a:lstStyle>
            <a:lvl1pPr>
              <a:defRPr sz="5400" spc="-100"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759449" y="3974479"/>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51477" y="6164262"/>
            <a:ext cx="1686560" cy="363259"/>
          </a:xfrm>
          <a:prstGeom prst="rect">
            <a:avLst/>
          </a:prstGeom>
        </p:spPr>
      </p:pic>
      <p:pic>
        <p:nvPicPr>
          <p:cNvPr id="7" name="Picture 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635" y="-635"/>
            <a:ext cx="12435840" cy="6995160"/>
          </a:xfrm>
          <a:prstGeom prst="rect">
            <a:avLst/>
          </a:prstGeom>
        </p:spPr>
      </p:pic>
      <p:sp>
        <p:nvSpPr>
          <p:cNvPr id="10" name="Rectangle 9"/>
          <p:cNvSpPr/>
          <p:nvPr userDrawn="1"/>
        </p:nvSpPr>
        <p:spPr bwMode="auto">
          <a:xfrm>
            <a:off x="5757797" y="2145699"/>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551477" y="6164262"/>
            <a:ext cx="1686560" cy="363259"/>
          </a:xfrm>
          <a:prstGeom prst="rect">
            <a:avLst/>
          </a:prstGeom>
        </p:spPr>
      </p:pic>
    </p:spTree>
    <p:extLst>
      <p:ext uri="{BB962C8B-B14F-4D97-AF65-F5344CB8AC3E}">
        <p14:creationId xmlns:p14="http://schemas.microsoft.com/office/powerpoint/2010/main" val="938059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3" Type="http://schemas.openxmlformats.org/officeDocument/2006/relationships/slideLayout" Target="../slideLayouts/slideLayout11.xml"/><Relationship Id="rId7" Type="http://schemas.openxmlformats.org/officeDocument/2006/relationships/slideLayout" Target="../slideLayouts/slideLayout15.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5" Type="http://schemas.openxmlformats.org/officeDocument/2006/relationships/slideLayout" Target="../slideLayouts/slideLayout13.xml"/><Relationship Id="rId10" Type="http://schemas.openxmlformats.org/officeDocument/2006/relationships/image" Target="../media/image1.png"/><Relationship Id="rId4" Type="http://schemas.openxmlformats.org/officeDocument/2006/relationships/slideLayout" Target="../slideLayouts/slideLayout12.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9.xml"/><Relationship Id="rId7" Type="http://schemas.openxmlformats.org/officeDocument/2006/relationships/image" Target="../media/image1.png"/><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theme" Target="../theme/theme3.xml"/><Relationship Id="rId5" Type="http://schemas.openxmlformats.org/officeDocument/2006/relationships/slideLayout" Target="../slideLayouts/slideLayout21.xml"/><Relationship Id="rId4" Type="http://schemas.openxmlformats.org/officeDocument/2006/relationships/slideLayout" Target="../slideLayouts/slideLayout2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tags" Target="../tags/tag2.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vmlDrawing" Target="../drawings/vmlDrawing1.vml"/><Relationship Id="rId2" Type="http://schemas.openxmlformats.org/officeDocument/2006/relationships/slideLayout" Target="../slideLayouts/slideLayout23.xml"/><Relationship Id="rId16" Type="http://schemas.openxmlformats.org/officeDocument/2006/relationships/theme" Target="../theme/theme4.xml"/><Relationship Id="rId20" Type="http://schemas.openxmlformats.org/officeDocument/2006/relationships/image" Target="../media/image10.emf"/><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10" Type="http://schemas.openxmlformats.org/officeDocument/2006/relationships/slideLayout" Target="../slideLayouts/slideLayout31.xml"/><Relationship Id="rId19" Type="http://schemas.openxmlformats.org/officeDocument/2006/relationships/oleObject" Target="../embeddings/oleObject1.bin"/><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slideLayout" Target="../slideLayouts/slideLayout54.xml"/><Relationship Id="rId3" Type="http://schemas.openxmlformats.org/officeDocument/2006/relationships/slideLayout" Target="../slideLayouts/slideLayout39.xml"/><Relationship Id="rId21" Type="http://schemas.openxmlformats.org/officeDocument/2006/relationships/slideLayout" Target="../slideLayouts/slideLayout57.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slideLayout" Target="../slideLayouts/slideLayout56.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23" Type="http://schemas.openxmlformats.org/officeDocument/2006/relationships/theme" Target="../theme/theme5.xml"/><Relationship Id="rId10" Type="http://schemas.openxmlformats.org/officeDocument/2006/relationships/slideLayout" Target="../slideLayouts/slideLayout46.xml"/><Relationship Id="rId19" Type="http://schemas.openxmlformats.org/officeDocument/2006/relationships/slideLayout" Target="../slideLayouts/slideLayout55.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 Id="rId22" Type="http://schemas.openxmlformats.org/officeDocument/2006/relationships/slideLayout" Target="../slideLayouts/slideLayout58.xml"/></Relationships>
</file>

<file path=ppt/slideMasters/_rels/slideMaster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6.xml"/><Relationship Id="rId1" Type="http://schemas.openxmlformats.org/officeDocument/2006/relationships/slideLayout" Target="../slideLayouts/slideLayout5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10"/>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588427678"/>
      </p:ext>
    </p:extLst>
  </p:cSld>
  <p:clrMap bg1="dk1" tx1="lt1" bg2="dk2" tx2="lt2" accent1="accent1" accent2="accent2" accent3="accent3" accent4="accent4" accent5="accent5" accent6="accent6" hlink="hlink" folHlink="folHlink"/>
  <p:sldLayoutIdLst>
    <p:sldLayoutId id="2147484240" r:id="rId1"/>
    <p:sldLayoutId id="2147484247" r:id="rId2"/>
    <p:sldLayoutId id="2147484256" r:id="rId3"/>
    <p:sldLayoutId id="2147484257" r:id="rId4"/>
    <p:sldLayoutId id="2147484268" r:id="rId5"/>
    <p:sldLayoutId id="2147484524" r:id="rId6"/>
    <p:sldLayoutId id="2147484525" r:id="rId7"/>
    <p:sldLayoutId id="2147484526" r:id="rId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solidFill>
            <a:schemeClr val="bg1"/>
          </a:soli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chemeClr val="bg1"/>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bg1"/>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bg1"/>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bg1"/>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bg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10"/>
          <a:stretch>
            <a:fillRect/>
          </a:stretch>
        </p:blipFill>
        <p:spPr>
          <a:xfrm rot="5400000">
            <a:off x="9393899" y="3050513"/>
            <a:ext cx="6995160" cy="894134"/>
          </a:xfrm>
          <a:prstGeom prst="rect">
            <a:avLst/>
          </a:prstGeom>
        </p:spPr>
      </p:pic>
      <p:pic>
        <p:nvPicPr>
          <p:cNvPr id="5" name="Picture 4"/>
          <p:cNvPicPr>
            <a:picLocks noChangeAspect="1"/>
          </p:cNvPicPr>
          <p:nvPr userDrawn="1"/>
        </p:nvPicPr>
        <p:blipFill>
          <a:blip r:embed="rId10"/>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2082942347"/>
      </p:ext>
    </p:extLst>
  </p:cSld>
  <p:clrMap bg1="lt1" tx1="dk1" bg2="lt2" tx2="dk2" accent1="accent1" accent2="accent2" accent3="accent3" accent4="accent4" accent5="accent5" accent6="accent6" hlink="hlink" folHlink="folHlink"/>
  <p:sldLayoutIdLst>
    <p:sldLayoutId id="2147484529" r:id="rId1"/>
    <p:sldLayoutId id="2147484530" r:id="rId2"/>
    <p:sldLayoutId id="2147484531" r:id="rId3"/>
    <p:sldLayoutId id="2147484532" r:id="rId4"/>
    <p:sldLayoutId id="2147484534" r:id="rId5"/>
    <p:sldLayoutId id="2147484587" r:id="rId6"/>
    <p:sldLayoutId id="2147484588" r:id="rId7"/>
    <p:sldLayoutId id="2147484589" r:id="rId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7"/>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2909532611"/>
      </p:ext>
    </p:extLst>
  </p:cSld>
  <p:clrMap bg1="lt1" tx1="dk1" bg2="lt2" tx2="dk2" accent1="accent1" accent2="accent2" accent3="accent3" accent4="accent4" accent5="accent5" accent6="accent6" hlink="hlink" folHlink="folHlink"/>
  <p:sldLayoutIdLst>
    <p:sldLayoutId id="2147484539" r:id="rId1"/>
    <p:sldLayoutId id="2147484540" r:id="rId2"/>
    <p:sldLayoutId id="2147484541" r:id="rId3"/>
    <p:sldLayoutId id="2147484542" r:id="rId4"/>
    <p:sldLayoutId id="2147484544" r:id="rId5"/>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8"/>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1055" name="think-cell Slide" r:id="rId19" imgW="383" imgH="384" progId="TCLayout.ActiveDocument.1">
                  <p:embed/>
                </p:oleObj>
              </mc:Choice>
              <mc:Fallback>
                <p:oleObj name="think-cell Slide" r:id="rId19" imgW="383" imgH="384" progId="TCLayout.ActiveDocument.1">
                  <p:embed/>
                  <p:pic>
                    <p:nvPicPr>
                      <p:cNvPr id="3" name="Object 2" hidden="1"/>
                      <p:cNvPicPr/>
                      <p:nvPr/>
                    </p:nvPicPr>
                    <p:blipFill>
                      <a:blip r:embed="rId20"/>
                      <a:stretch>
                        <a:fillRect/>
                      </a:stretch>
                    </p:blipFill>
                    <p:spPr>
                      <a:xfrm>
                        <a:off x="1621" y="1621"/>
                        <a:ext cx="1619" cy="1619"/>
                      </a:xfrm>
                      <a:prstGeom prst="rect">
                        <a:avLst/>
                      </a:prstGeom>
                    </p:spPr>
                  </p:pic>
                </p:oleObj>
              </mc:Fallback>
            </mc:AlternateContent>
          </a:graphicData>
        </a:graphic>
      </p:graphicFrame>
      <p:sp>
        <p:nvSpPr>
          <p:cNvPr id="2" name="Title Placeholder 1"/>
          <p:cNvSpPr>
            <a:spLocks noGrp="1"/>
          </p:cNvSpPr>
          <p:nvPr>
            <p:ph type="title"/>
          </p:nvPr>
        </p:nvSpPr>
        <p:spPr>
          <a:xfrm>
            <a:off x="1" y="2"/>
            <a:ext cx="12436475" cy="658903"/>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1943199" y="6606832"/>
            <a:ext cx="8550077" cy="387694"/>
          </a:xfrm>
          <a:prstGeom prst="rect">
            <a:avLst/>
          </a:prstGeom>
        </p:spPr>
        <p:txBody>
          <a:bodyPr vert="horz" lIns="76179" tIns="38089" rIns="76179" bIns="38089" rtlCol="0" anchor="ctr"/>
          <a:lstStyle>
            <a:lvl1pPr algn="ctr">
              <a:defRPr sz="816">
                <a:solidFill>
                  <a:schemeClr val="tx1"/>
                </a:solidFill>
                <a:latin typeface="Segoe UI" pitchFamily="34" charset="0"/>
                <a:ea typeface="Segoe UI" pitchFamily="34" charset="0"/>
                <a:cs typeface="Segoe UI" pitchFamily="34" charset="0"/>
              </a:defRPr>
            </a:lvl1pPr>
          </a:lstStyle>
          <a:p>
            <a:pPr defTabSz="1109758"/>
            <a:endParaRPr lang="en-US" dirty="0">
              <a:solidFill>
                <a:srgbClr val="505050"/>
              </a:solidFill>
            </a:endParaRPr>
          </a:p>
        </p:txBody>
      </p:sp>
      <p:sp>
        <p:nvSpPr>
          <p:cNvPr id="15" name="Text Placeholder 14"/>
          <p:cNvSpPr>
            <a:spLocks noGrp="1"/>
          </p:cNvSpPr>
          <p:nvPr>
            <p:ph type="body" idx="1"/>
          </p:nvPr>
        </p:nvSpPr>
        <p:spPr>
          <a:xfrm>
            <a:off x="153878" y="1632058"/>
            <a:ext cx="12128721" cy="4650299"/>
          </a:xfrm>
          <a:prstGeom prst="rect">
            <a:avLst/>
          </a:prstGeom>
        </p:spPr>
        <p:txBody>
          <a:bodyPr vert="horz" lIns="182880" tIns="91440" rIns="18288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laceholder 18"/>
          <p:cNvSpPr>
            <a:spLocks noGrp="1"/>
          </p:cNvSpPr>
          <p:nvPr>
            <p:ph type="sldNum" sz="quarter" idx="4"/>
          </p:nvPr>
        </p:nvSpPr>
        <p:spPr>
          <a:xfrm>
            <a:off x="11439937" y="6606832"/>
            <a:ext cx="777278" cy="387693"/>
          </a:xfrm>
          <a:prstGeom prst="rect">
            <a:avLst/>
          </a:prstGeom>
        </p:spPr>
        <p:txBody>
          <a:bodyPr vert="horz" lIns="91440" tIns="45720" rIns="91440" bIns="45720" rtlCol="0" anchor="ctr"/>
          <a:lstStyle>
            <a:lvl1pPr algn="r">
              <a:defRPr sz="816">
                <a:solidFill>
                  <a:schemeClr val="tx1"/>
                </a:solidFill>
                <a:latin typeface="Segoe UI" pitchFamily="34" charset="0"/>
                <a:ea typeface="Segoe UI" pitchFamily="34" charset="0"/>
                <a:cs typeface="Segoe UI" pitchFamily="34" charset="0"/>
              </a:defRPr>
            </a:lvl1pPr>
          </a:lstStyle>
          <a:p>
            <a:pPr defTabSz="1109758"/>
            <a:fld id="{FAADACFB-7C71-4E89-89D2-7BBA40B7BFA9}" type="slidenum">
              <a:rPr lang="en-US" smtClean="0">
                <a:solidFill>
                  <a:srgbClr val="505050"/>
                </a:solidFill>
              </a:rPr>
              <a:pPr defTabSz="1109758"/>
              <a:t>‹#›</a:t>
            </a:fld>
            <a:endParaRPr lang="en-US" dirty="0">
              <a:solidFill>
                <a:srgbClr val="505050"/>
              </a:solidFill>
            </a:endParaRPr>
          </a:p>
        </p:txBody>
      </p:sp>
    </p:spTree>
    <p:extLst>
      <p:ext uri="{BB962C8B-B14F-4D97-AF65-F5344CB8AC3E}">
        <p14:creationId xmlns:p14="http://schemas.microsoft.com/office/powerpoint/2010/main" val="183220955"/>
      </p:ext>
    </p:extLst>
  </p:cSld>
  <p:clrMap bg1="lt1" tx1="dk1" bg2="lt2" tx2="dk2" accent1="accent1" accent2="accent2" accent3="accent3" accent4="accent4" accent5="accent5" accent6="accent6" hlink="hlink" folHlink="folHlink"/>
  <p:sldLayoutIdLst>
    <p:sldLayoutId id="2147484546" r:id="rId1"/>
    <p:sldLayoutId id="2147484547" r:id="rId2"/>
    <p:sldLayoutId id="2147484548" r:id="rId3"/>
    <p:sldLayoutId id="2147484549" r:id="rId4"/>
    <p:sldLayoutId id="2147484550" r:id="rId5"/>
    <p:sldLayoutId id="2147484551" r:id="rId6"/>
    <p:sldLayoutId id="2147484552" r:id="rId7"/>
    <p:sldLayoutId id="2147484553" r:id="rId8"/>
    <p:sldLayoutId id="2147484554" r:id="rId9"/>
    <p:sldLayoutId id="2147484555" r:id="rId10"/>
    <p:sldLayoutId id="2147484556" r:id="rId11"/>
    <p:sldLayoutId id="2147484557" r:id="rId12"/>
    <p:sldLayoutId id="2147484558" r:id="rId13"/>
    <p:sldLayoutId id="2147484559" r:id="rId14"/>
    <p:sldLayoutId id="2147484585" r:id="rId15"/>
  </p:sldLayoutIdLst>
  <p:transition>
    <p:fade/>
  </p:transition>
  <p:hf hdr="0" ftr="0" dt="0"/>
  <p:txStyles>
    <p:title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p:titleStyle>
    <p:bodyStyle>
      <a:lvl1pPr marL="0" indent="0" algn="l" defTabSz="1109758" rtl="0" eaLnBrk="1" latinLnBrk="0" hangingPunct="1">
        <a:spcBef>
          <a:spcPts val="1836"/>
        </a:spcBef>
        <a:buClr>
          <a:srgbClr val="0072C6"/>
        </a:buClr>
        <a:buSzPct val="100000"/>
        <a:buFont typeface="Wingdings" pitchFamily="2" charset="2"/>
        <a:buNone/>
        <a:defRPr sz="2448" kern="1200">
          <a:solidFill>
            <a:schemeClr val="tx2"/>
          </a:solidFill>
          <a:latin typeface="Segoe UI" pitchFamily="34" charset="0"/>
          <a:ea typeface="Segoe UI" pitchFamily="34" charset="0"/>
          <a:cs typeface="Segoe UI" pitchFamily="34" charset="0"/>
        </a:defRPr>
      </a:lvl1pPr>
      <a:lvl2pPr marL="485544" indent="-198264" algn="l" defTabSz="1109758" rtl="0" eaLnBrk="1" latinLnBrk="0" hangingPunct="1">
        <a:spcBef>
          <a:spcPct val="20000"/>
        </a:spcBef>
        <a:buFont typeface="Arial" pitchFamily="34" charset="0"/>
        <a:buChar char="•"/>
        <a:defRPr sz="1836" kern="1200">
          <a:solidFill>
            <a:schemeClr val="tx1"/>
          </a:solidFill>
          <a:latin typeface="Segoe UI" pitchFamily="34" charset="0"/>
          <a:ea typeface="Segoe UI" pitchFamily="34" charset="0"/>
          <a:cs typeface="Segoe UI" pitchFamily="34" charset="0"/>
        </a:defRPr>
      </a:lvl2pPr>
      <a:lvl3pPr marL="776870" indent="-176683" algn="l" defTabSz="1109758" rtl="0" eaLnBrk="1" latinLnBrk="0" hangingPunct="1">
        <a:spcBef>
          <a:spcPct val="20000"/>
        </a:spcBef>
        <a:buFont typeface="Arial" pitchFamily="34" charset="0"/>
        <a:buChar char="•"/>
        <a:defRPr sz="1632" kern="1200">
          <a:solidFill>
            <a:schemeClr val="tx1"/>
          </a:solidFill>
          <a:latin typeface="Segoe UI" pitchFamily="34" charset="0"/>
          <a:ea typeface="Segoe UI" pitchFamily="34" charset="0"/>
          <a:cs typeface="Segoe UI" pitchFamily="34" charset="0"/>
        </a:defRPr>
      </a:lvl3pPr>
      <a:lvl4pPr marL="1068196" indent="-180730"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4pPr>
      <a:lvl5pPr marL="1310968" indent="-183428"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5pPr>
      <a:lvl6pPr marL="3051837"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6pPr>
      <a:lvl7pPr marL="360671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7pPr>
      <a:lvl8pPr marL="4161596"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8pPr>
      <a:lvl9pPr marL="471647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9pPr>
    </p:bodyStyle>
    <p:otherStyle>
      <a:defPPr>
        <a:defRPr lang="en-US"/>
      </a:defPPr>
      <a:lvl1pPr marL="0" algn="l" defTabSz="1109758" rtl="0" eaLnBrk="1" latinLnBrk="0" hangingPunct="1">
        <a:defRPr sz="2244" kern="1200">
          <a:solidFill>
            <a:schemeClr val="tx1"/>
          </a:solidFill>
          <a:latin typeface="+mn-lt"/>
          <a:ea typeface="+mn-ea"/>
          <a:cs typeface="+mn-cs"/>
        </a:defRPr>
      </a:lvl1pPr>
      <a:lvl2pPr marL="554880" algn="l" defTabSz="1109758" rtl="0" eaLnBrk="1" latinLnBrk="0" hangingPunct="1">
        <a:defRPr sz="2244" kern="1200">
          <a:solidFill>
            <a:schemeClr val="tx1"/>
          </a:solidFill>
          <a:latin typeface="+mn-lt"/>
          <a:ea typeface="+mn-ea"/>
          <a:cs typeface="+mn-cs"/>
        </a:defRPr>
      </a:lvl2pPr>
      <a:lvl3pPr marL="1109758" algn="l" defTabSz="1109758" rtl="0" eaLnBrk="1" latinLnBrk="0" hangingPunct="1">
        <a:defRPr sz="2244" kern="1200">
          <a:solidFill>
            <a:schemeClr val="tx1"/>
          </a:solidFill>
          <a:latin typeface="+mn-lt"/>
          <a:ea typeface="+mn-ea"/>
          <a:cs typeface="+mn-cs"/>
        </a:defRPr>
      </a:lvl3pPr>
      <a:lvl4pPr marL="1664639" algn="l" defTabSz="1109758" rtl="0" eaLnBrk="1" latinLnBrk="0" hangingPunct="1">
        <a:defRPr sz="2244" kern="1200">
          <a:solidFill>
            <a:schemeClr val="tx1"/>
          </a:solidFill>
          <a:latin typeface="+mn-lt"/>
          <a:ea typeface="+mn-ea"/>
          <a:cs typeface="+mn-cs"/>
        </a:defRPr>
      </a:lvl4pPr>
      <a:lvl5pPr marL="2219518" algn="l" defTabSz="1109758" rtl="0" eaLnBrk="1" latinLnBrk="0" hangingPunct="1">
        <a:defRPr sz="2244" kern="1200">
          <a:solidFill>
            <a:schemeClr val="tx1"/>
          </a:solidFill>
          <a:latin typeface="+mn-lt"/>
          <a:ea typeface="+mn-ea"/>
          <a:cs typeface="+mn-cs"/>
        </a:defRPr>
      </a:lvl5pPr>
      <a:lvl6pPr marL="2774397" algn="l" defTabSz="1109758" rtl="0" eaLnBrk="1" latinLnBrk="0" hangingPunct="1">
        <a:defRPr sz="2244" kern="1200">
          <a:solidFill>
            <a:schemeClr val="tx1"/>
          </a:solidFill>
          <a:latin typeface="+mn-lt"/>
          <a:ea typeface="+mn-ea"/>
          <a:cs typeface="+mn-cs"/>
        </a:defRPr>
      </a:lvl6pPr>
      <a:lvl7pPr marL="3329276" algn="l" defTabSz="1109758" rtl="0" eaLnBrk="1" latinLnBrk="0" hangingPunct="1">
        <a:defRPr sz="2244" kern="1200">
          <a:solidFill>
            <a:schemeClr val="tx1"/>
          </a:solidFill>
          <a:latin typeface="+mn-lt"/>
          <a:ea typeface="+mn-ea"/>
          <a:cs typeface="+mn-cs"/>
        </a:defRPr>
      </a:lvl7pPr>
      <a:lvl8pPr marL="3884156" algn="l" defTabSz="1109758" rtl="0" eaLnBrk="1" latinLnBrk="0" hangingPunct="1">
        <a:defRPr sz="2244" kern="1200">
          <a:solidFill>
            <a:schemeClr val="tx1"/>
          </a:solidFill>
          <a:latin typeface="+mn-lt"/>
          <a:ea typeface="+mn-ea"/>
          <a:cs typeface="+mn-cs"/>
        </a:defRPr>
      </a:lvl8pPr>
      <a:lvl9pPr marL="4439035" algn="l" defTabSz="1109758" rtl="0" eaLnBrk="1" latinLnBrk="0" hangingPunct="1">
        <a:defRPr sz="224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pPr>
            <a:r>
              <a:rPr lang="en-US" dirty="0"/>
              <a:t>Click to edit Master text styles</a:t>
            </a:r>
          </a:p>
          <a:p>
            <a:pPr marL="584200" marR="0" lvl="1" indent="-241300" algn="l" defTabSz="932742" rtl="0" eaLnBrk="1" fontAlgn="auto" latinLnBrk="0" hangingPunct="1">
              <a:lnSpc>
                <a:spcPct val="90000"/>
              </a:lnSpc>
              <a:spcBef>
                <a:spcPct val="20000"/>
              </a:spcBef>
              <a:spcAft>
                <a:spcPts val="0"/>
              </a:spcAft>
              <a:buClrTx/>
              <a:buSzPct val="90000"/>
              <a:buFont typeface="Arial" pitchFamily="34" charset="0"/>
              <a:buChar char="•"/>
              <a:tabLst/>
            </a:pPr>
            <a:r>
              <a:rPr lang="en-US" dirty="0"/>
              <a:t>Second level</a:t>
            </a:r>
          </a:p>
          <a:p>
            <a:pPr lvl="2"/>
            <a:r>
              <a:rPr lang="en-US" dirty="0"/>
              <a:t>Third level</a:t>
            </a:r>
          </a:p>
          <a:p>
            <a:pPr lvl="3"/>
            <a:r>
              <a:rPr lang="en-US" dirty="0"/>
              <a:t>Fourth level</a:t>
            </a:r>
          </a:p>
          <a:p>
            <a:pPr lvl="4"/>
            <a:r>
              <a:rPr lang="en-US" dirty="0"/>
              <a:t>Fifth level</a:t>
            </a:r>
          </a:p>
        </p:txBody>
      </p:sp>
      <p:grpSp>
        <p:nvGrpSpPr>
          <p:cNvPr id="42" name="Group 41"/>
          <p:cNvGrpSpPr/>
          <p:nvPr userDrawn="1"/>
        </p:nvGrpSpPr>
        <p:grpSpPr>
          <a:xfrm>
            <a:off x="12618967" y="0"/>
            <a:ext cx="952401" cy="5766965"/>
            <a:chOff x="12618967" y="0"/>
            <a:chExt cx="952401" cy="5766965"/>
          </a:xfrm>
        </p:grpSpPr>
        <p:grpSp>
          <p:nvGrpSpPr>
            <p:cNvPr id="43" name="Group 42"/>
            <p:cNvGrpSpPr/>
            <p:nvPr userDrawn="1"/>
          </p:nvGrpSpPr>
          <p:grpSpPr>
            <a:xfrm rot="5400000">
              <a:off x="11582059" y="1045293"/>
              <a:ext cx="2703052" cy="629236"/>
              <a:chOff x="1586734" y="4543426"/>
              <a:chExt cx="2703052" cy="629236"/>
            </a:xfrm>
          </p:grpSpPr>
          <p:sp>
            <p:nvSpPr>
              <p:cNvPr id="50" name="Rectangle 49"/>
              <p:cNvSpPr/>
              <p:nvPr userDrawn="1"/>
            </p:nvSpPr>
            <p:spPr bwMode="auto">
              <a:xfrm>
                <a:off x="2505456" y="4543427"/>
                <a:ext cx="869930" cy="289766"/>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r>
                  <a:rPr kumimoji="0" lang="en-US" sz="5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ue</a:t>
                </a:r>
              </a:p>
              <a:p>
                <a:pPr marL="0" marR="0" lvl="0" indent="0" defTabSz="932472"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0 G:120 B:215</a:t>
                </a:r>
              </a:p>
            </p:txBody>
          </p:sp>
          <p:sp>
            <p:nvSpPr>
              <p:cNvPr id="51" name="Rectangle 50"/>
              <p:cNvSpPr/>
              <p:nvPr userDrawn="1"/>
            </p:nvSpPr>
            <p:spPr bwMode="auto">
              <a:xfrm>
                <a:off x="1586734" y="4543428"/>
                <a:ext cx="869930" cy="289766"/>
              </a:xfrm>
              <a:prstGeom prst="rect">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r>
                  <a:rPr kumimoji="0" lang="en-US" sz="500" b="1" i="0" u="none" strike="noStrike" kern="0" cap="none" spc="0" normalizeH="0" baseline="0" noProof="0" dirty="0">
                    <a:ln>
                      <a:noFill/>
                    </a:ln>
                    <a:gradFill>
                      <a:gsLst>
                        <a:gs pos="28319">
                          <a:srgbClr val="505050"/>
                        </a:gs>
                        <a:gs pos="79000">
                          <a:srgbClr val="505050"/>
                        </a:gs>
                      </a:gsLst>
                      <a:lin ang="5400000" scaled="0"/>
                    </a:gradFill>
                    <a:effectLst/>
                    <a:uLnTx/>
                    <a:uFillTx/>
                    <a:latin typeface="Segoe UI"/>
                    <a:ea typeface="Segoe UI" pitchFamily="34" charset="0"/>
                    <a:cs typeface="Segoe UI" pitchFamily="34" charset="0"/>
                  </a:rPr>
                  <a:t>Cyan</a:t>
                </a:r>
              </a:p>
              <a:p>
                <a:pPr marL="0" marR="0" lvl="0" indent="0" defTabSz="932472"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8319">
                          <a:srgbClr val="505050"/>
                        </a:gs>
                        <a:gs pos="79000">
                          <a:srgbClr val="505050"/>
                        </a:gs>
                      </a:gsLst>
                      <a:lin ang="5400000" scaled="0"/>
                    </a:gradFill>
                    <a:effectLst/>
                    <a:uLnTx/>
                    <a:uFillTx/>
                    <a:latin typeface="Segoe UI"/>
                    <a:ea typeface="Segoe UI" pitchFamily="34" charset="0"/>
                    <a:cs typeface="Segoe UI" pitchFamily="34" charset="0"/>
                  </a:rPr>
                  <a:t>R:0 G:188 B:242</a:t>
                </a:r>
              </a:p>
            </p:txBody>
          </p:sp>
          <p:sp>
            <p:nvSpPr>
              <p:cNvPr id="52" name="Rectangle 51"/>
              <p:cNvSpPr/>
              <p:nvPr userDrawn="1"/>
            </p:nvSpPr>
            <p:spPr bwMode="auto">
              <a:xfrm>
                <a:off x="1586734" y="4882896"/>
                <a:ext cx="869930" cy="289766"/>
              </a:xfrm>
              <a:prstGeom prst="rect">
                <a:avLst/>
              </a:pr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r>
                  <a:rPr kumimoji="0" lang="en-US" sz="500" b="1" i="0" u="none" strike="noStrike" kern="0" cap="none" spc="0" normalizeH="0" baseline="0" noProof="0" dirty="0">
                    <a:ln>
                      <a:noFill/>
                    </a:ln>
                    <a:gradFill>
                      <a:gsLst>
                        <a:gs pos="92035">
                          <a:srgbClr val="505050"/>
                        </a:gs>
                        <a:gs pos="27000">
                          <a:srgbClr val="505050"/>
                        </a:gs>
                      </a:gsLst>
                      <a:lin ang="5400000" scaled="0"/>
                    </a:gradFill>
                    <a:effectLst/>
                    <a:uLnTx/>
                    <a:uFillTx/>
                    <a:latin typeface="Segoe UI"/>
                    <a:ea typeface="Segoe UI" pitchFamily="34" charset="0"/>
                    <a:cs typeface="Segoe UI" pitchFamily="34" charset="0"/>
                  </a:rPr>
                  <a:t>Light Gray</a:t>
                </a:r>
              </a:p>
              <a:p>
                <a:pPr marL="0" marR="0" lvl="0" indent="0" defTabSz="932472"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92035">
                          <a:srgbClr val="505050"/>
                        </a:gs>
                        <a:gs pos="27000">
                          <a:srgbClr val="505050"/>
                        </a:gs>
                      </a:gsLst>
                      <a:lin ang="5400000" scaled="0"/>
                    </a:gradFill>
                    <a:effectLst/>
                    <a:uLnTx/>
                    <a:uFillTx/>
                    <a:latin typeface="Segoe UI"/>
                    <a:ea typeface="Segoe UI" pitchFamily="34" charset="0"/>
                    <a:cs typeface="Segoe UI" pitchFamily="34" charset="0"/>
                  </a:rPr>
                  <a:t>R:210 G:210 B:210</a:t>
                </a:r>
              </a:p>
            </p:txBody>
          </p:sp>
          <p:sp>
            <p:nvSpPr>
              <p:cNvPr id="53" name="Rectangle 52"/>
              <p:cNvSpPr/>
              <p:nvPr userDrawn="1"/>
            </p:nvSpPr>
            <p:spPr bwMode="auto">
              <a:xfrm>
                <a:off x="3419856" y="4543426"/>
                <a:ext cx="869930" cy="289766"/>
              </a:xfrm>
              <a:prstGeom prst="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r>
                  <a:rPr kumimoji="0" lang="en-US" sz="5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Blue</a:t>
                </a:r>
              </a:p>
              <a:p>
                <a:pPr marL="0" marR="0" lvl="0" indent="0" defTabSz="932472"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0 G:32 B:80</a:t>
                </a:r>
              </a:p>
            </p:txBody>
          </p:sp>
          <p:sp>
            <p:nvSpPr>
              <p:cNvPr id="54" name="Rectangle 53"/>
              <p:cNvSpPr/>
              <p:nvPr userDrawn="1"/>
            </p:nvSpPr>
            <p:spPr bwMode="auto">
              <a:xfrm>
                <a:off x="3413144" y="4882896"/>
                <a:ext cx="869930" cy="289766"/>
              </a:xfrm>
              <a:prstGeom prst="rect">
                <a:avLst/>
              </a:prstGeom>
              <a:solidFill>
                <a:srgbClr val="323232"/>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r>
                  <a:rPr kumimoji="0" lang="en-US" sz="5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Gray</a:t>
                </a:r>
              </a:p>
              <a:p>
                <a:pPr marL="0" marR="0" lvl="0" indent="0" defTabSz="932472"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50 G:50 B:50</a:t>
                </a:r>
              </a:p>
            </p:txBody>
          </p:sp>
          <p:sp>
            <p:nvSpPr>
              <p:cNvPr id="55" name="Rectangle 54"/>
              <p:cNvSpPr/>
              <p:nvPr userDrawn="1"/>
            </p:nvSpPr>
            <p:spPr bwMode="auto">
              <a:xfrm>
                <a:off x="2505456" y="4882895"/>
                <a:ext cx="869930" cy="289766"/>
              </a:xfrm>
              <a:prstGeom prst="rect">
                <a:avLst/>
              </a:prstGeom>
              <a:solidFill>
                <a:srgbClr val="737373"/>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r>
                  <a:rPr kumimoji="0" lang="en-US" sz="5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ray</a:t>
                </a:r>
              </a:p>
              <a:p>
                <a:pPr marL="0" marR="0" lvl="0" indent="0" defTabSz="932472"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15 G:115 B:115</a:t>
                </a:r>
              </a:p>
            </p:txBody>
          </p:sp>
        </p:grpSp>
        <p:grpSp>
          <p:nvGrpSpPr>
            <p:cNvPr id="44" name="Group 43"/>
            <p:cNvGrpSpPr/>
            <p:nvPr userDrawn="1"/>
          </p:nvGrpSpPr>
          <p:grpSpPr>
            <a:xfrm rot="5400000">
              <a:off x="11412325" y="4270556"/>
              <a:ext cx="2703052" cy="289766"/>
              <a:chOff x="4476564" y="4543426"/>
              <a:chExt cx="2703052" cy="289766"/>
            </a:xfrm>
          </p:grpSpPr>
          <p:sp>
            <p:nvSpPr>
              <p:cNvPr id="47" name="Rectangle 46"/>
              <p:cNvSpPr/>
              <p:nvPr userDrawn="1"/>
            </p:nvSpPr>
            <p:spPr bwMode="auto">
              <a:xfrm>
                <a:off x="539528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lvl="0" defTabSz="932472" fontAlgn="base">
                  <a:lnSpc>
                    <a:spcPct val="100000"/>
                  </a:lnSpc>
                  <a:spcBef>
                    <a:spcPct val="0"/>
                  </a:spcBef>
                  <a:spcAft>
                    <a:spcPct val="0"/>
                  </a:spcAft>
                </a:pPr>
                <a:r>
                  <a:rPr lang="en-US" sz="500" b="1" baseline="0" noProof="0" dirty="0">
                    <a:gradFill>
                      <a:gsLst>
                        <a:gs pos="0">
                          <a:srgbClr val="FFFFFF"/>
                        </a:gs>
                        <a:gs pos="100000">
                          <a:srgbClr val="FFFFFF"/>
                        </a:gs>
                      </a:gsLst>
                      <a:lin ang="5400000" scaled="0"/>
                    </a:gradFill>
                    <a:ea typeface="Segoe UI" pitchFamily="34" charset="0"/>
                    <a:cs typeface="Segoe UI" pitchFamily="34" charset="0"/>
                  </a:rPr>
                  <a:t>Purple</a:t>
                </a:r>
              </a:p>
              <a:p>
                <a:pPr lvl="0" defTabSz="932472" fontAlgn="base">
                  <a:lnSpc>
                    <a:spcPct val="100000"/>
                  </a:lnSpc>
                  <a:spcBef>
                    <a:spcPct val="0"/>
                  </a:spcBef>
                  <a:spcAft>
                    <a:spcPct val="0"/>
                  </a:spcAft>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92 G:45 B:145</a:t>
                </a:r>
              </a:p>
            </p:txBody>
          </p:sp>
          <p:sp>
            <p:nvSpPr>
              <p:cNvPr id="48" name="Rectangle 47"/>
              <p:cNvSpPr/>
              <p:nvPr userDrawn="1"/>
            </p:nvSpPr>
            <p:spPr bwMode="auto">
              <a:xfrm>
                <a:off x="6309686" y="4543426"/>
                <a:ext cx="869930" cy="289766"/>
              </a:xfrm>
              <a:prstGeom prst="rect">
                <a:avLst/>
              </a:prstGeom>
              <a:solidFill>
                <a:srgbClr val="D83B01"/>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r>
                  <a:rPr kumimoji="0" lang="en-US" sz="5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range</a:t>
                </a:r>
              </a:p>
              <a:p>
                <a:pPr marL="0" marR="0" lvl="0" indent="0" defTabSz="932472"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216 G:59 B:1</a:t>
                </a:r>
              </a:p>
            </p:txBody>
          </p:sp>
          <p:sp>
            <p:nvSpPr>
              <p:cNvPr id="49" name="Rectangle 48"/>
              <p:cNvSpPr/>
              <p:nvPr userDrawn="1"/>
            </p:nvSpPr>
            <p:spPr bwMode="auto">
              <a:xfrm>
                <a:off x="4476564" y="4543426"/>
                <a:ext cx="869930" cy="289766"/>
              </a:xfrm>
              <a:prstGeom prst="rect">
                <a:avLst/>
              </a:prstGeom>
              <a:solidFill>
                <a:srgbClr val="107C10"/>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r>
                  <a:rPr kumimoji="0" lang="en-US" sz="5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reen</a:t>
                </a:r>
              </a:p>
              <a:p>
                <a:pPr marL="0" marR="0" lvl="0" indent="0" defTabSz="932472"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6 G:124 B:16</a:t>
                </a:r>
              </a:p>
            </p:txBody>
          </p:sp>
        </p:grpSp>
        <p:sp>
          <p:nvSpPr>
            <p:cNvPr id="45" name="TextBox 44"/>
            <p:cNvSpPr txBox="1"/>
            <p:nvPr userDrawn="1"/>
          </p:nvSpPr>
          <p:spPr>
            <a:xfrm rot="5400000">
              <a:off x="12988035" y="260168"/>
              <a:ext cx="843501" cy="323165"/>
            </a:xfrm>
            <a:prstGeom prst="rect">
              <a:avLst/>
            </a:prstGeom>
            <a:noFill/>
          </p:spPr>
          <p:txBody>
            <a:bodyPr wrap="none" lIns="0" tIns="91440" rIns="182880" bIns="91440"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000" b="0" i="0" u="none" strike="noStrike" kern="0" cap="none" spc="0" normalizeH="0" baseline="0" noProof="0" dirty="0">
                  <a:ln>
                    <a:noFill/>
                  </a:ln>
                  <a:gradFill>
                    <a:gsLst>
                      <a:gs pos="2917">
                        <a:srgbClr val="505050"/>
                      </a:gs>
                      <a:gs pos="30000">
                        <a:srgbClr val="505050"/>
                      </a:gs>
                    </a:gsLst>
                    <a:lin ang="5400000" scaled="0"/>
                  </a:gradFill>
                  <a:effectLst/>
                  <a:uLnTx/>
                  <a:uFillTx/>
                </a:rPr>
                <a:t>Main colors</a:t>
              </a:r>
            </a:p>
          </p:txBody>
        </p:sp>
        <p:sp>
          <p:nvSpPr>
            <p:cNvPr id="46" name="TextBox 45"/>
            <p:cNvSpPr txBox="1"/>
            <p:nvPr userDrawn="1"/>
          </p:nvSpPr>
          <p:spPr>
            <a:xfrm rot="5400000">
              <a:off x="11742070" y="4230580"/>
              <a:ext cx="2656496" cy="323165"/>
            </a:xfrm>
            <a:prstGeom prst="rect">
              <a:avLst/>
            </a:prstGeom>
            <a:noFill/>
          </p:spPr>
          <p:txBody>
            <a:bodyPr wrap="none" lIns="0" tIns="91440" rIns="182880" bIns="91440"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000" b="0" i="0" u="none" strike="noStrike" kern="0" cap="none" spc="0" normalizeH="0" baseline="0" noProof="0" dirty="0">
                  <a:ln>
                    <a:noFill/>
                  </a:ln>
                  <a:gradFill>
                    <a:gsLst>
                      <a:gs pos="2917">
                        <a:srgbClr val="505050"/>
                      </a:gs>
                      <a:gs pos="30000">
                        <a:srgbClr val="505050"/>
                      </a:gs>
                    </a:gsLst>
                    <a:lin ang="5400000" scaled="0"/>
                  </a:gradFill>
                  <a:effectLst/>
                  <a:uLnTx/>
                  <a:uFillTx/>
                </a:rPr>
                <a:t>Secondary colors (use only when necessary)</a:t>
              </a:r>
            </a:p>
          </p:txBody>
        </p:sp>
      </p:grpSp>
    </p:spTree>
    <p:extLst>
      <p:ext uri="{BB962C8B-B14F-4D97-AF65-F5344CB8AC3E}">
        <p14:creationId xmlns:p14="http://schemas.microsoft.com/office/powerpoint/2010/main" val="1789101295"/>
      </p:ext>
    </p:extLst>
  </p:cSld>
  <p:clrMap bg1="dk1" tx1="lt1" bg2="dk2" tx2="lt2" accent1="accent1" accent2="accent2" accent3="accent3" accent4="accent4" accent5="accent5" accent6="accent6" hlink="hlink" folHlink="folHlink"/>
  <p:sldLayoutIdLst>
    <p:sldLayoutId id="2147484591" r:id="rId1"/>
    <p:sldLayoutId id="2147484592" r:id="rId2"/>
    <p:sldLayoutId id="2147484593" r:id="rId3"/>
    <p:sldLayoutId id="2147484594" r:id="rId4"/>
    <p:sldLayoutId id="2147484595" r:id="rId5"/>
    <p:sldLayoutId id="2147484596" r:id="rId6"/>
    <p:sldLayoutId id="2147484597" r:id="rId7"/>
    <p:sldLayoutId id="2147484598" r:id="rId8"/>
    <p:sldLayoutId id="2147484599" r:id="rId9"/>
    <p:sldLayoutId id="2147484600" r:id="rId10"/>
    <p:sldLayoutId id="2147484601" r:id="rId11"/>
    <p:sldLayoutId id="2147484602" r:id="rId12"/>
    <p:sldLayoutId id="2147484603" r:id="rId13"/>
    <p:sldLayoutId id="2147484604" r:id="rId14"/>
    <p:sldLayoutId id="2147484605" r:id="rId15"/>
    <p:sldLayoutId id="2147484606" r:id="rId16"/>
    <p:sldLayoutId id="2147484607" r:id="rId17"/>
    <p:sldLayoutId id="2147484608" r:id="rId18"/>
    <p:sldLayoutId id="2147484609" r:id="rId19"/>
    <p:sldLayoutId id="2147484610" r:id="rId20"/>
    <p:sldLayoutId id="2147484611" r:id="rId21"/>
    <p:sldLayoutId id="2147484612" r:id="rId22"/>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lang="en-US" sz="4000" kern="1200" spc="0" baseline="0" dirty="0" smtClean="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lang="en-US" sz="2400"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1" y="1212852"/>
            <a:ext cx="11887198" cy="1905395"/>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3"/>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57136169"/>
      </p:ext>
    </p:extLst>
  </p:cSld>
  <p:clrMap bg1="dk1" tx1="lt1" bg2="dk2" tx2="lt2" accent1="accent1" accent2="accent2" accent3="accent3" accent4="accent4" accent5="accent5" accent6="accent6" hlink="hlink" folHlink="folHlink"/>
  <p:sldLayoutIdLst>
    <p:sldLayoutId id="2147484614" r:id="rId1"/>
  </p:sldLayoutIdLst>
  <p:transition>
    <p:fade/>
  </p:transition>
  <p:txStyles>
    <p:titleStyle>
      <a:lvl1pPr algn="l" defTabSz="932563" rtl="0" eaLnBrk="1" latinLnBrk="0" hangingPunct="1">
        <a:lnSpc>
          <a:spcPct val="90000"/>
        </a:lnSpc>
        <a:spcBef>
          <a:spcPct val="0"/>
        </a:spcBef>
        <a:buNone/>
        <a:defRPr lang="en-US" sz="448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672"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04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36"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79">
          <p15:clr>
            <a:srgbClr val="C35EA4"/>
          </p15:clr>
        </p15:guide>
        <p15:guide id="17" pos="7400">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5.xml"/><Relationship Id="rId1" Type="http://schemas.openxmlformats.org/officeDocument/2006/relationships/tags" Target="../tags/tag3.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1.xml"/><Relationship Id="rId1" Type="http://schemas.openxmlformats.org/officeDocument/2006/relationships/tags" Target="../tags/tag12.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1.xml"/><Relationship Id="rId1" Type="http://schemas.openxmlformats.org/officeDocument/2006/relationships/tags" Target="../tags/tag13.xml"/><Relationship Id="rId4" Type="http://schemas.openxmlformats.org/officeDocument/2006/relationships/image" Target="../media/image35.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5.xml"/><Relationship Id="rId1" Type="http://schemas.openxmlformats.org/officeDocument/2006/relationships/tags" Target="../tags/tag14.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6.xml"/><Relationship Id="rId1" Type="http://schemas.openxmlformats.org/officeDocument/2006/relationships/tags" Target="../tags/tag15.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39.jpe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4.xml"/><Relationship Id="rId1" Type="http://schemas.openxmlformats.org/officeDocument/2006/relationships/tags" Target="../tags/tag16.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1.xml"/><Relationship Id="rId1" Type="http://schemas.openxmlformats.org/officeDocument/2006/relationships/tags" Target="../tags/tag17.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42.pn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1.xml"/><Relationship Id="rId1" Type="http://schemas.openxmlformats.org/officeDocument/2006/relationships/tags" Target="../tags/tag18.xml"/><Relationship Id="rId4" Type="http://schemas.openxmlformats.org/officeDocument/2006/relationships/image" Target="../media/image45.pn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1.xml"/><Relationship Id="rId1" Type="http://schemas.openxmlformats.org/officeDocument/2006/relationships/tags" Target="../tags/tag19.xml"/><Relationship Id="rId4" Type="http://schemas.openxmlformats.org/officeDocument/2006/relationships/image" Target="../media/image46.pn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1.xml"/><Relationship Id="rId1" Type="http://schemas.openxmlformats.org/officeDocument/2006/relationships/tags" Target="../tags/tag20.xml"/><Relationship Id="rId4" Type="http://schemas.openxmlformats.org/officeDocument/2006/relationships/image" Target="../media/image47.pn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1.xml"/><Relationship Id="rId1" Type="http://schemas.openxmlformats.org/officeDocument/2006/relationships/tags" Target="../tags/tag21.xml"/><Relationship Id="rId4" Type="http://schemas.openxmlformats.org/officeDocument/2006/relationships/image" Target="../media/image48.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3.xml"/><Relationship Id="rId1" Type="http://schemas.openxmlformats.org/officeDocument/2006/relationships/tags" Target="../tags/tag4.xml"/><Relationship Id="rId4" Type="http://schemas.openxmlformats.org/officeDocument/2006/relationships/image" Target="../media/image24.png"/></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11.xml"/><Relationship Id="rId1" Type="http://schemas.openxmlformats.org/officeDocument/2006/relationships/tags" Target="../tags/tag22.xml"/><Relationship Id="rId4" Type="http://schemas.openxmlformats.org/officeDocument/2006/relationships/image" Target="../media/image49.pn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15.xml"/><Relationship Id="rId1" Type="http://schemas.openxmlformats.org/officeDocument/2006/relationships/tags" Target="../tags/tag23.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1.xml"/><Relationship Id="rId1" Type="http://schemas.openxmlformats.org/officeDocument/2006/relationships/tags" Target="../tags/tag24.xml"/><Relationship Id="rId4" Type="http://schemas.openxmlformats.org/officeDocument/2006/relationships/image" Target="../media/image50.pn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1.xml"/><Relationship Id="rId1" Type="http://schemas.openxmlformats.org/officeDocument/2006/relationships/tags" Target="../tags/tag25.xml"/><Relationship Id="rId5" Type="http://schemas.openxmlformats.org/officeDocument/2006/relationships/image" Target="../media/image49.png"/><Relationship Id="rId4" Type="http://schemas.openxmlformats.org/officeDocument/2006/relationships/image" Target="../media/image51.pn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11.xml"/><Relationship Id="rId1" Type="http://schemas.openxmlformats.org/officeDocument/2006/relationships/tags" Target="../tags/tag26.xml"/><Relationship Id="rId4" Type="http://schemas.openxmlformats.org/officeDocument/2006/relationships/image" Target="../media/image52.pn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15.xml"/><Relationship Id="rId1" Type="http://schemas.openxmlformats.org/officeDocument/2006/relationships/tags" Target="../tags/tag27.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11.xml"/><Relationship Id="rId1" Type="http://schemas.openxmlformats.org/officeDocument/2006/relationships/tags" Target="../tags/tag28.xml"/><Relationship Id="rId4" Type="http://schemas.openxmlformats.org/officeDocument/2006/relationships/image" Target="../media/image53.pn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11.xml"/><Relationship Id="rId1" Type="http://schemas.openxmlformats.org/officeDocument/2006/relationships/tags" Target="../tags/tag29.xml"/><Relationship Id="rId4" Type="http://schemas.openxmlformats.org/officeDocument/2006/relationships/image" Target="../media/image54.pn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15.xml"/><Relationship Id="rId1" Type="http://schemas.openxmlformats.org/officeDocument/2006/relationships/tags" Target="../tags/tag30.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11.xml"/><Relationship Id="rId1" Type="http://schemas.openxmlformats.org/officeDocument/2006/relationships/tags" Target="../tags/tag31.xml"/><Relationship Id="rId5" Type="http://schemas.openxmlformats.org/officeDocument/2006/relationships/image" Target="../media/image56.png"/><Relationship Id="rId4" Type="http://schemas.openxmlformats.org/officeDocument/2006/relationships/image" Target="../media/image55.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4.xml"/><Relationship Id="rId1" Type="http://schemas.openxmlformats.org/officeDocument/2006/relationships/tags" Target="../tags/tag5.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59.xml"/><Relationship Id="rId1" Type="http://schemas.openxmlformats.org/officeDocument/2006/relationships/tags" Target="../tags/tag32.xml"/><Relationship Id="rId5" Type="http://schemas.openxmlformats.org/officeDocument/2006/relationships/image" Target="../media/image58.png"/><Relationship Id="rId4" Type="http://schemas.openxmlformats.org/officeDocument/2006/relationships/image" Target="../media/image57.png"/></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16.xml"/><Relationship Id="rId1" Type="http://schemas.openxmlformats.org/officeDocument/2006/relationships/tags" Target="../tags/tag33.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39.jpe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16.xml"/><Relationship Id="rId1" Type="http://schemas.openxmlformats.org/officeDocument/2006/relationships/tags" Target="../tags/tag34.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39.jpeg"/></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14.xml"/><Relationship Id="rId1" Type="http://schemas.openxmlformats.org/officeDocument/2006/relationships/tags" Target="../tags/tag35.xml"/></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11.xml"/><Relationship Id="rId1" Type="http://schemas.openxmlformats.org/officeDocument/2006/relationships/tags" Target="../tags/tag36.xml"/><Relationship Id="rId4" Type="http://schemas.openxmlformats.org/officeDocument/2006/relationships/image" Target="../media/image32.jpeg"/></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10.xml"/><Relationship Id="rId1" Type="http://schemas.openxmlformats.org/officeDocument/2006/relationships/tags" Target="../tags/tag37.xml"/><Relationship Id="rId5" Type="http://schemas.openxmlformats.org/officeDocument/2006/relationships/image" Target="../media/image36.png"/><Relationship Id="rId4" Type="http://schemas.openxmlformats.org/officeDocument/2006/relationships/image" Target="../media/image35.png"/></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11.xml"/><Relationship Id="rId1" Type="http://schemas.openxmlformats.org/officeDocument/2006/relationships/tags" Target="../tags/tag38.xml"/><Relationship Id="rId4" Type="http://schemas.openxmlformats.org/officeDocument/2006/relationships/image" Target="../media/image35.png"/></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11.xml"/><Relationship Id="rId1" Type="http://schemas.openxmlformats.org/officeDocument/2006/relationships/tags" Target="../tags/tag39.xml"/><Relationship Id="rId5" Type="http://schemas.openxmlformats.org/officeDocument/2006/relationships/image" Target="../media/image44.png"/><Relationship Id="rId4" Type="http://schemas.openxmlformats.org/officeDocument/2006/relationships/image" Target="../media/image42.png"/></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14.xml"/><Relationship Id="rId1" Type="http://schemas.openxmlformats.org/officeDocument/2006/relationships/tags" Target="../tags/tag40.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36.xml"/><Relationship Id="rId1" Type="http://schemas.openxmlformats.org/officeDocument/2006/relationships/tags" Target="../tags/tag41.xml"/><Relationship Id="rId4" Type="http://schemas.openxmlformats.org/officeDocument/2006/relationships/hyperlink" Target="http://www.microsoft.com/permission" TargetMode="External"/></Relationships>
</file>

<file path=ppt/slides/_rels/slide4.xml.rels><?xml version="1.0" encoding="UTF-8" standalone="yes"?>
<Relationships xmlns="http://schemas.openxmlformats.org/package/2006/relationships"><Relationship Id="rId8" Type="http://schemas.microsoft.com/office/2007/relationships/hdphoto" Target="../media/hdphoto3.wdp"/><Relationship Id="rId13" Type="http://schemas.openxmlformats.org/officeDocument/2006/relationships/image" Target="../media/image30.png"/><Relationship Id="rId3" Type="http://schemas.openxmlformats.org/officeDocument/2006/relationships/notesSlide" Target="../notesSlides/notesSlide4.xml"/><Relationship Id="rId7" Type="http://schemas.openxmlformats.org/officeDocument/2006/relationships/image" Target="../media/image27.png"/><Relationship Id="rId12" Type="http://schemas.microsoft.com/office/2007/relationships/hdphoto" Target="../media/hdphoto5.wdp"/><Relationship Id="rId2" Type="http://schemas.openxmlformats.org/officeDocument/2006/relationships/slideLayout" Target="../slideLayouts/slideLayout10.xml"/><Relationship Id="rId16" Type="http://schemas.microsoft.com/office/2007/relationships/hdphoto" Target="../media/hdphoto7.wdp"/><Relationship Id="rId1" Type="http://schemas.openxmlformats.org/officeDocument/2006/relationships/tags" Target="../tags/tag6.xml"/><Relationship Id="rId6" Type="http://schemas.microsoft.com/office/2007/relationships/hdphoto" Target="../media/hdphoto2.wdp"/><Relationship Id="rId11" Type="http://schemas.openxmlformats.org/officeDocument/2006/relationships/image" Target="../media/image29.png"/><Relationship Id="rId5" Type="http://schemas.openxmlformats.org/officeDocument/2006/relationships/image" Target="../media/image26.png"/><Relationship Id="rId15" Type="http://schemas.openxmlformats.org/officeDocument/2006/relationships/image" Target="../media/image31.png"/><Relationship Id="rId10" Type="http://schemas.microsoft.com/office/2007/relationships/hdphoto" Target="../media/hdphoto4.wdp"/><Relationship Id="rId4" Type="http://schemas.openxmlformats.org/officeDocument/2006/relationships/image" Target="../media/image25.jpg"/><Relationship Id="rId9" Type="http://schemas.openxmlformats.org/officeDocument/2006/relationships/image" Target="../media/image28.png"/><Relationship Id="rId14" Type="http://schemas.microsoft.com/office/2007/relationships/hdphoto" Target="../media/hdphoto6.wdp"/></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1.xml"/><Relationship Id="rId1" Type="http://schemas.openxmlformats.org/officeDocument/2006/relationships/tags" Target="../tags/tag7.xml"/><Relationship Id="rId4" Type="http://schemas.openxmlformats.org/officeDocument/2006/relationships/image" Target="../media/image32.jpe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4.xml"/><Relationship Id="rId1" Type="http://schemas.openxmlformats.org/officeDocument/2006/relationships/tags" Target="../tags/tag8.xml"/><Relationship Id="rId5" Type="http://schemas.openxmlformats.org/officeDocument/2006/relationships/image" Target="../media/image34.jpg"/><Relationship Id="rId4" Type="http://schemas.openxmlformats.org/officeDocument/2006/relationships/image" Target="../media/image33.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44.xml"/><Relationship Id="rId1" Type="http://schemas.openxmlformats.org/officeDocument/2006/relationships/tags" Target="../tags/tag9.xml"/><Relationship Id="rId5" Type="http://schemas.openxmlformats.org/officeDocument/2006/relationships/image" Target="../media/image36.png"/><Relationship Id="rId4" Type="http://schemas.openxmlformats.org/officeDocument/2006/relationships/image" Target="../media/image35.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4.xml"/><Relationship Id="rId1" Type="http://schemas.openxmlformats.org/officeDocument/2006/relationships/tags" Target="../tags/tag10.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1.xml"/><Relationship Id="rId1" Type="http://schemas.openxmlformats.org/officeDocument/2006/relationships/tags" Target="../tags/tag11.xml"/><Relationship Id="rId5" Type="http://schemas.openxmlformats.org/officeDocument/2006/relationships/image" Target="../media/image38.jpeg"/><Relationship Id="rId4" Type="http://schemas.openxmlformats.org/officeDocument/2006/relationships/image" Target="../media/image37.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702" y="2125663"/>
            <a:ext cx="6400736" cy="1395088"/>
          </a:xfrm>
        </p:spPr>
        <p:txBody>
          <a:bodyPr>
            <a:noAutofit/>
          </a:bodyPr>
          <a:lstStyle/>
          <a:p>
            <a:r>
              <a:rPr lang="en-US" sz="4000" dirty="0"/>
              <a:t>Cognitive Services: </a:t>
            </a:r>
            <a:br>
              <a:rPr lang="en-US" sz="4000" dirty="0"/>
            </a:br>
            <a:r>
              <a:rPr lang="en-US" sz="4000" dirty="0"/>
              <a:t>Custom Vision Service &amp; APIs</a:t>
            </a:r>
            <a:br>
              <a:rPr lang="en-US" sz="4000" dirty="0"/>
            </a:br>
            <a:endParaRPr lang="en-GB" sz="4000" dirty="0"/>
          </a:p>
        </p:txBody>
      </p:sp>
      <p:sp>
        <p:nvSpPr>
          <p:cNvPr id="6" name="Text Placeholder 2">
            <a:extLst>
              <a:ext uri="{FF2B5EF4-FFF2-40B4-BE49-F238E27FC236}">
                <a16:creationId xmlns:a16="http://schemas.microsoft.com/office/drawing/2014/main" id="{A8249F1B-8657-4657-9792-B6F01E9B832E}"/>
              </a:ext>
            </a:extLst>
          </p:cNvPr>
          <p:cNvSpPr txBox="1">
            <a:spLocks/>
          </p:cNvSpPr>
          <p:nvPr/>
        </p:nvSpPr>
        <p:spPr bwMode="auto">
          <a:xfrm>
            <a:off x="187617" y="4144166"/>
            <a:ext cx="6402388" cy="1732583"/>
          </a:xfrm>
          <a:prstGeom prst="rect">
            <a:avLst/>
          </a:prstGeom>
        </p:spPr>
        <p:txBody>
          <a:bodyPr vert="horz" lIns="182880" tIns="109728" rIns="182880" bIns="109728" rtlCol="0">
            <a:noAutofit/>
          </a:bodyPr>
          <a:lstStyle>
            <a:lvl1pPr marL="0" indent="0" algn="l" defTabSz="1109758" rtl="0" eaLnBrk="1" latinLnBrk="0" hangingPunct="1">
              <a:spcBef>
                <a:spcPts val="0"/>
              </a:spcBef>
              <a:buClr>
                <a:srgbClr val="0072C6"/>
              </a:buClr>
              <a:buSzPct val="100000"/>
              <a:buFont typeface="Wingdings" pitchFamily="2" charset="2"/>
              <a:buNone/>
              <a:defRPr sz="3200" kern="1200">
                <a:gradFill>
                  <a:gsLst>
                    <a:gs pos="64646">
                      <a:srgbClr val="FFFFFF"/>
                    </a:gs>
                    <a:gs pos="45000">
                      <a:srgbClr val="FFFFFF"/>
                    </a:gs>
                  </a:gsLst>
                  <a:lin ang="5400000" scaled="0"/>
                </a:gradFill>
                <a:latin typeface="Segoe UI" pitchFamily="34" charset="0"/>
                <a:ea typeface="Segoe UI" pitchFamily="34" charset="0"/>
                <a:cs typeface="Segoe UI" pitchFamily="34" charset="0"/>
              </a:defRPr>
            </a:lvl1pPr>
            <a:lvl2pPr marL="485544" indent="-198264" algn="l" defTabSz="1109758" rtl="0" eaLnBrk="1" latinLnBrk="0" hangingPunct="1">
              <a:spcBef>
                <a:spcPct val="20000"/>
              </a:spcBef>
              <a:buFont typeface="Arial" pitchFamily="34" charset="0"/>
              <a:buChar char="•"/>
              <a:defRPr sz="1836" kern="1200">
                <a:solidFill>
                  <a:schemeClr val="tx1"/>
                </a:solidFill>
                <a:latin typeface="Segoe UI" pitchFamily="34" charset="0"/>
                <a:ea typeface="Segoe UI" pitchFamily="34" charset="0"/>
                <a:cs typeface="Segoe UI" pitchFamily="34" charset="0"/>
              </a:defRPr>
            </a:lvl2pPr>
            <a:lvl3pPr marL="776870" indent="-176683" algn="l" defTabSz="1109758" rtl="0" eaLnBrk="1" latinLnBrk="0" hangingPunct="1">
              <a:spcBef>
                <a:spcPct val="20000"/>
              </a:spcBef>
              <a:buFont typeface="Arial" pitchFamily="34" charset="0"/>
              <a:buChar char="•"/>
              <a:defRPr sz="1632" kern="1200">
                <a:solidFill>
                  <a:schemeClr val="tx1"/>
                </a:solidFill>
                <a:latin typeface="Segoe UI" pitchFamily="34" charset="0"/>
                <a:ea typeface="Segoe UI" pitchFamily="34" charset="0"/>
                <a:cs typeface="Segoe UI" pitchFamily="34" charset="0"/>
              </a:defRPr>
            </a:lvl3pPr>
            <a:lvl4pPr marL="1068196" indent="-180730"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4pPr>
            <a:lvl5pPr marL="1310968" indent="-183428"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5pPr>
            <a:lvl6pPr marL="3051837"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6pPr>
            <a:lvl7pPr marL="360671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7pPr>
            <a:lvl8pPr marL="4161596"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8pPr>
            <a:lvl9pPr marL="471647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9pPr>
          </a:lstStyle>
          <a:p>
            <a:r>
              <a:rPr lang="en-US" dirty="0"/>
              <a:t>Chris Testa-O’Neill</a:t>
            </a:r>
          </a:p>
          <a:p>
            <a:r>
              <a:rPr lang="en-US" dirty="0"/>
              <a:t>Data Scientist</a:t>
            </a:r>
          </a:p>
          <a:p>
            <a:r>
              <a:rPr lang="en-US" dirty="0"/>
              <a:t>AI and Research Team</a:t>
            </a:r>
          </a:p>
          <a:p>
            <a:endParaRPr lang="en-GB" dirty="0"/>
          </a:p>
        </p:txBody>
      </p:sp>
    </p:spTree>
    <p:custDataLst>
      <p:tags r:id="rId1"/>
    </p:custDataLst>
    <p:extLst>
      <p:ext uri="{BB962C8B-B14F-4D97-AF65-F5344CB8AC3E}">
        <p14:creationId xmlns:p14="http://schemas.microsoft.com/office/powerpoint/2010/main" val="31163340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044374"/>
            <a:ext cx="7295745" cy="979483"/>
          </a:xfrm>
        </p:spPr>
        <p:txBody>
          <a:bodyPr vert="horz" wrap="square" lIns="146283" tIns="91428" rIns="146283" bIns="91428" numCol="1" rtlCol="0" anchor="t" anchorCtr="0" compatLnSpc="1">
            <a:prstTxWarp prst="textNoShape">
              <a:avLst/>
            </a:prstTxWarp>
            <a:noAutofit/>
          </a:bodyPr>
          <a:lstStyle/>
          <a:p>
            <a:pPr algn="l"/>
            <a:r>
              <a:rPr lang="en-US" sz="4399" dirty="0">
                <a:solidFill>
                  <a:schemeClr val="tx1">
                    <a:lumMod val="75000"/>
                  </a:schemeClr>
                </a:solidFill>
              </a:rPr>
              <a:t>Custom Vision Process</a:t>
            </a:r>
            <a:endParaRPr lang="en-US" sz="4399" dirty="0">
              <a:solidFill>
                <a:srgbClr val="00B050"/>
              </a:solidFill>
            </a:endParaRPr>
          </a:p>
        </p:txBody>
      </p:sp>
      <p:sp>
        <p:nvSpPr>
          <p:cNvPr id="6" name="Right Arrow 3">
            <a:extLst>
              <a:ext uri="{FF2B5EF4-FFF2-40B4-BE49-F238E27FC236}">
                <a16:creationId xmlns:a16="http://schemas.microsoft.com/office/drawing/2014/main" id="{4BC51FD3-2FE7-45E3-BD36-BB836C00C569}"/>
              </a:ext>
            </a:extLst>
          </p:cNvPr>
          <p:cNvSpPr/>
          <p:nvPr/>
        </p:nvSpPr>
        <p:spPr bwMode="auto">
          <a:xfrm>
            <a:off x="9392236" y="2472480"/>
            <a:ext cx="1215011" cy="348242"/>
          </a:xfrm>
          <a:prstGeom prst="rightArrow">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Right Arrow 4">
            <a:extLst>
              <a:ext uri="{FF2B5EF4-FFF2-40B4-BE49-F238E27FC236}">
                <a16:creationId xmlns:a16="http://schemas.microsoft.com/office/drawing/2014/main" id="{B2F10212-1842-4C2F-9A82-4CC1BAEB381C}"/>
              </a:ext>
            </a:extLst>
          </p:cNvPr>
          <p:cNvSpPr/>
          <p:nvPr/>
        </p:nvSpPr>
        <p:spPr bwMode="auto">
          <a:xfrm>
            <a:off x="7281795" y="2456797"/>
            <a:ext cx="939818" cy="348242"/>
          </a:xfrm>
          <a:prstGeom prst="rightArrow">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Right Arrow 5">
            <a:extLst>
              <a:ext uri="{FF2B5EF4-FFF2-40B4-BE49-F238E27FC236}">
                <a16:creationId xmlns:a16="http://schemas.microsoft.com/office/drawing/2014/main" id="{1B6DC21D-BA26-4994-ABE0-D476304208F2}"/>
              </a:ext>
            </a:extLst>
          </p:cNvPr>
          <p:cNvSpPr/>
          <p:nvPr/>
        </p:nvSpPr>
        <p:spPr bwMode="auto">
          <a:xfrm>
            <a:off x="2573556" y="2463632"/>
            <a:ext cx="1215011" cy="348242"/>
          </a:xfrm>
          <a:prstGeom prst="rightArrow">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9" name="Group 8">
            <a:extLst>
              <a:ext uri="{FF2B5EF4-FFF2-40B4-BE49-F238E27FC236}">
                <a16:creationId xmlns:a16="http://schemas.microsoft.com/office/drawing/2014/main" id="{DD8DD963-1563-4427-AB71-BBA0320CA512}"/>
              </a:ext>
            </a:extLst>
          </p:cNvPr>
          <p:cNvGrpSpPr/>
          <p:nvPr/>
        </p:nvGrpSpPr>
        <p:grpSpPr>
          <a:xfrm>
            <a:off x="3023497" y="2877397"/>
            <a:ext cx="5198116" cy="3815711"/>
            <a:chOff x="279190" y="1202994"/>
            <a:chExt cx="2530513" cy="2079136"/>
          </a:xfrm>
        </p:grpSpPr>
        <p:sp>
          <p:nvSpPr>
            <p:cNvPr id="10" name="Circular Arrow 7">
              <a:extLst>
                <a:ext uri="{FF2B5EF4-FFF2-40B4-BE49-F238E27FC236}">
                  <a16:creationId xmlns:a16="http://schemas.microsoft.com/office/drawing/2014/main" id="{59DE37D8-5E36-4FD8-8FA0-D1CC0772CBE9}"/>
                </a:ext>
              </a:extLst>
            </p:cNvPr>
            <p:cNvSpPr/>
            <p:nvPr/>
          </p:nvSpPr>
          <p:spPr>
            <a:xfrm>
              <a:off x="562817" y="1202994"/>
              <a:ext cx="1993655" cy="1993655"/>
            </a:xfrm>
            <a:prstGeom prst="circularArrow">
              <a:avLst>
                <a:gd name="adj1" fmla="val 4668"/>
                <a:gd name="adj2" fmla="val 272909"/>
                <a:gd name="adj3" fmla="val 13466191"/>
                <a:gd name="adj4" fmla="val 17613920"/>
                <a:gd name="adj5" fmla="val 4847"/>
              </a:avLst>
            </a:prstGeom>
            <a:solidFill>
              <a:srgbClr val="0078D7">
                <a:tint val="40000"/>
                <a:hueOff val="0"/>
                <a:satOff val="0"/>
                <a:lumOff val="0"/>
                <a:alphaOff val="0"/>
              </a:srgbClr>
            </a:solidFill>
            <a:ln>
              <a:noFill/>
            </a:ln>
            <a:effectLst/>
          </p:spPr>
        </p:sp>
        <p:sp>
          <p:nvSpPr>
            <p:cNvPr id="12" name="Freeform 8">
              <a:extLst>
                <a:ext uri="{FF2B5EF4-FFF2-40B4-BE49-F238E27FC236}">
                  <a16:creationId xmlns:a16="http://schemas.microsoft.com/office/drawing/2014/main" id="{9A16C980-3BE6-4C6E-B232-3F258C271D5D}"/>
                </a:ext>
              </a:extLst>
            </p:cNvPr>
            <p:cNvSpPr/>
            <p:nvPr/>
          </p:nvSpPr>
          <p:spPr>
            <a:xfrm>
              <a:off x="995045" y="1301019"/>
              <a:ext cx="1098803" cy="549401"/>
            </a:xfrm>
            <a:custGeom>
              <a:avLst/>
              <a:gdLst>
                <a:gd name="connsiteX0" fmla="*/ 0 w 1098803"/>
                <a:gd name="connsiteY0" fmla="*/ 91569 h 549401"/>
                <a:gd name="connsiteX1" fmla="*/ 91569 w 1098803"/>
                <a:gd name="connsiteY1" fmla="*/ 0 h 549401"/>
                <a:gd name="connsiteX2" fmla="*/ 1007234 w 1098803"/>
                <a:gd name="connsiteY2" fmla="*/ 0 h 549401"/>
                <a:gd name="connsiteX3" fmla="*/ 1098803 w 1098803"/>
                <a:gd name="connsiteY3" fmla="*/ 91569 h 549401"/>
                <a:gd name="connsiteX4" fmla="*/ 1098803 w 1098803"/>
                <a:gd name="connsiteY4" fmla="*/ 457832 h 549401"/>
                <a:gd name="connsiteX5" fmla="*/ 1007234 w 1098803"/>
                <a:gd name="connsiteY5" fmla="*/ 549401 h 549401"/>
                <a:gd name="connsiteX6" fmla="*/ 91569 w 1098803"/>
                <a:gd name="connsiteY6" fmla="*/ 549401 h 549401"/>
                <a:gd name="connsiteX7" fmla="*/ 0 w 1098803"/>
                <a:gd name="connsiteY7" fmla="*/ 457832 h 549401"/>
                <a:gd name="connsiteX8" fmla="*/ 0 w 1098803"/>
                <a:gd name="connsiteY8" fmla="*/ 91569 h 549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8803" h="549401">
                  <a:moveTo>
                    <a:pt x="0" y="91569"/>
                  </a:moveTo>
                  <a:cubicBezTo>
                    <a:pt x="0" y="40997"/>
                    <a:pt x="40997" y="0"/>
                    <a:pt x="91569" y="0"/>
                  </a:cubicBezTo>
                  <a:lnTo>
                    <a:pt x="1007234" y="0"/>
                  </a:lnTo>
                  <a:cubicBezTo>
                    <a:pt x="1057806" y="0"/>
                    <a:pt x="1098803" y="40997"/>
                    <a:pt x="1098803" y="91569"/>
                  </a:cubicBezTo>
                  <a:lnTo>
                    <a:pt x="1098803" y="457832"/>
                  </a:lnTo>
                  <a:cubicBezTo>
                    <a:pt x="1098803" y="508404"/>
                    <a:pt x="1057806" y="549401"/>
                    <a:pt x="1007234" y="549401"/>
                  </a:cubicBezTo>
                  <a:lnTo>
                    <a:pt x="91569" y="549401"/>
                  </a:lnTo>
                  <a:cubicBezTo>
                    <a:pt x="40997" y="549401"/>
                    <a:pt x="0" y="508404"/>
                    <a:pt x="0" y="457832"/>
                  </a:cubicBezTo>
                  <a:lnTo>
                    <a:pt x="0" y="91569"/>
                  </a:lnTo>
                  <a:close/>
                </a:path>
              </a:pathLst>
            </a:custGeom>
            <a:solidFill>
              <a:srgbClr val="0078D7">
                <a:hueOff val="0"/>
                <a:satOff val="0"/>
                <a:lumOff val="0"/>
                <a:alphaOff val="0"/>
              </a:srgbClr>
            </a:solidFill>
            <a:ln w="10795" cap="flat" cmpd="sng" algn="ctr">
              <a:solidFill>
                <a:srgbClr val="FFFFFF">
                  <a:hueOff val="0"/>
                  <a:satOff val="0"/>
                  <a:lumOff val="0"/>
                  <a:alphaOff val="0"/>
                </a:srgbClr>
              </a:solidFill>
              <a:prstDash val="solid"/>
            </a:ln>
            <a:effectLst>
              <a:glow rad="101600">
                <a:srgbClr val="5C2D91">
                  <a:satMod val="175000"/>
                  <a:alpha val="40000"/>
                </a:srgbClr>
              </a:glow>
            </a:effectLst>
          </p:spPr>
          <p:txBody>
            <a:bodyPr spcFirstLastPara="0" vert="horz" wrap="square" lIns="79420" tIns="79420" rIns="79420" bIns="79420" numCol="1" spcCol="1270" anchor="ctr" anchorCtr="0">
              <a:noAutofit/>
            </a:bodyPr>
            <a:lstStyle/>
            <a:p>
              <a:pPr marL="0" marR="0" lvl="0" indent="0" algn="ctr" defTabSz="601077" rtl="0" eaLnBrk="1" fontAlgn="auto" latinLnBrk="0" hangingPunct="1">
                <a:lnSpc>
                  <a:spcPct val="90000"/>
                </a:lnSpc>
                <a:spcBef>
                  <a:spcPct val="0"/>
                </a:spcBef>
                <a:spcAft>
                  <a:spcPct val="35000"/>
                </a:spcAft>
                <a:buClrTx/>
                <a:buSzTx/>
                <a:buFontTx/>
                <a:buNone/>
                <a:tabLst/>
                <a:defRPr/>
              </a:pPr>
              <a:r>
                <a:rPr kumimoji="0" lang="en-US" sz="2040" b="1" i="0" u="none" strike="noStrike" kern="0" cap="none" spc="0" normalizeH="0" baseline="0" noProof="0" dirty="0">
                  <a:ln>
                    <a:noFill/>
                  </a:ln>
                  <a:solidFill>
                    <a:srgbClr val="FFFF00"/>
                  </a:solidFill>
                  <a:effectLst/>
                  <a:uLnTx/>
                  <a:uFillTx/>
                  <a:latin typeface="Segoe UI"/>
                  <a:ea typeface="+mn-ea"/>
                  <a:cs typeface="+mn-cs"/>
                </a:rPr>
                <a:t>Tag/Classify images</a:t>
              </a:r>
            </a:p>
          </p:txBody>
        </p:sp>
        <p:sp>
          <p:nvSpPr>
            <p:cNvPr id="13" name="Freeform 9">
              <a:extLst>
                <a:ext uri="{FF2B5EF4-FFF2-40B4-BE49-F238E27FC236}">
                  <a16:creationId xmlns:a16="http://schemas.microsoft.com/office/drawing/2014/main" id="{6C6C513C-4F97-41EE-A05F-FD1481E2288E}"/>
                </a:ext>
              </a:extLst>
            </p:cNvPr>
            <p:cNvSpPr/>
            <p:nvPr/>
          </p:nvSpPr>
          <p:spPr>
            <a:xfrm>
              <a:off x="1710900" y="2016874"/>
              <a:ext cx="1098803" cy="549401"/>
            </a:xfrm>
            <a:custGeom>
              <a:avLst/>
              <a:gdLst>
                <a:gd name="connsiteX0" fmla="*/ 0 w 1098803"/>
                <a:gd name="connsiteY0" fmla="*/ 91569 h 549401"/>
                <a:gd name="connsiteX1" fmla="*/ 91569 w 1098803"/>
                <a:gd name="connsiteY1" fmla="*/ 0 h 549401"/>
                <a:gd name="connsiteX2" fmla="*/ 1007234 w 1098803"/>
                <a:gd name="connsiteY2" fmla="*/ 0 h 549401"/>
                <a:gd name="connsiteX3" fmla="*/ 1098803 w 1098803"/>
                <a:gd name="connsiteY3" fmla="*/ 91569 h 549401"/>
                <a:gd name="connsiteX4" fmla="*/ 1098803 w 1098803"/>
                <a:gd name="connsiteY4" fmla="*/ 457832 h 549401"/>
                <a:gd name="connsiteX5" fmla="*/ 1007234 w 1098803"/>
                <a:gd name="connsiteY5" fmla="*/ 549401 h 549401"/>
                <a:gd name="connsiteX6" fmla="*/ 91569 w 1098803"/>
                <a:gd name="connsiteY6" fmla="*/ 549401 h 549401"/>
                <a:gd name="connsiteX7" fmla="*/ 0 w 1098803"/>
                <a:gd name="connsiteY7" fmla="*/ 457832 h 549401"/>
                <a:gd name="connsiteX8" fmla="*/ 0 w 1098803"/>
                <a:gd name="connsiteY8" fmla="*/ 91569 h 549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8803" h="549401">
                  <a:moveTo>
                    <a:pt x="0" y="91569"/>
                  </a:moveTo>
                  <a:cubicBezTo>
                    <a:pt x="0" y="40997"/>
                    <a:pt x="40997" y="0"/>
                    <a:pt x="91569" y="0"/>
                  </a:cubicBezTo>
                  <a:lnTo>
                    <a:pt x="1007234" y="0"/>
                  </a:lnTo>
                  <a:cubicBezTo>
                    <a:pt x="1057806" y="0"/>
                    <a:pt x="1098803" y="40997"/>
                    <a:pt x="1098803" y="91569"/>
                  </a:cubicBezTo>
                  <a:lnTo>
                    <a:pt x="1098803" y="457832"/>
                  </a:lnTo>
                  <a:cubicBezTo>
                    <a:pt x="1098803" y="508404"/>
                    <a:pt x="1057806" y="549401"/>
                    <a:pt x="1007234" y="549401"/>
                  </a:cubicBezTo>
                  <a:lnTo>
                    <a:pt x="91569" y="549401"/>
                  </a:lnTo>
                  <a:cubicBezTo>
                    <a:pt x="40997" y="549401"/>
                    <a:pt x="0" y="508404"/>
                    <a:pt x="0" y="457832"/>
                  </a:cubicBezTo>
                  <a:lnTo>
                    <a:pt x="0" y="91569"/>
                  </a:lnTo>
                  <a:close/>
                </a:path>
              </a:pathLst>
            </a:custGeom>
            <a:solidFill>
              <a:srgbClr val="0078D7">
                <a:hueOff val="0"/>
                <a:satOff val="0"/>
                <a:lumOff val="0"/>
                <a:alphaOff val="0"/>
              </a:srgbClr>
            </a:solidFill>
            <a:ln w="10795" cap="flat" cmpd="sng" algn="ctr">
              <a:solidFill>
                <a:srgbClr val="FFFFFF">
                  <a:hueOff val="0"/>
                  <a:satOff val="0"/>
                  <a:lumOff val="0"/>
                  <a:alphaOff val="0"/>
                </a:srgbClr>
              </a:solidFill>
              <a:prstDash val="solid"/>
            </a:ln>
            <a:effectLst>
              <a:glow rad="101600">
                <a:srgbClr val="5C2D91">
                  <a:satMod val="175000"/>
                  <a:alpha val="40000"/>
                </a:srgbClr>
              </a:glow>
            </a:effectLst>
          </p:spPr>
          <p:txBody>
            <a:bodyPr spcFirstLastPara="0" vert="horz" wrap="square" lIns="79420" tIns="79420" rIns="79420" bIns="79420" numCol="1" spcCol="1270" anchor="ctr" anchorCtr="0">
              <a:noAutofit/>
            </a:bodyPr>
            <a:lstStyle/>
            <a:p>
              <a:pPr marL="0" marR="0" lvl="0" indent="0" algn="ctr" defTabSz="601077" rtl="0" eaLnBrk="1" fontAlgn="auto" latinLnBrk="0" hangingPunct="1">
                <a:lnSpc>
                  <a:spcPct val="90000"/>
                </a:lnSpc>
                <a:spcBef>
                  <a:spcPct val="0"/>
                </a:spcBef>
                <a:spcAft>
                  <a:spcPct val="35000"/>
                </a:spcAft>
                <a:buClrTx/>
                <a:buSzTx/>
                <a:buFontTx/>
                <a:buNone/>
                <a:tabLst/>
                <a:defRPr/>
              </a:pPr>
              <a:r>
                <a:rPr kumimoji="0" lang="en-US" sz="2040" b="1" i="0" u="none" strike="noStrike" kern="0" cap="none" spc="0" normalizeH="0" baseline="0" noProof="0" dirty="0">
                  <a:ln>
                    <a:noFill/>
                  </a:ln>
                  <a:solidFill>
                    <a:srgbClr val="FFFF00"/>
                  </a:solidFill>
                  <a:effectLst/>
                  <a:uLnTx/>
                  <a:uFillTx/>
                  <a:latin typeface="Segoe UI"/>
                  <a:ea typeface="+mn-ea"/>
                  <a:cs typeface="+mn-cs"/>
                </a:rPr>
                <a:t>Train the Classifier</a:t>
              </a:r>
            </a:p>
          </p:txBody>
        </p:sp>
        <p:sp>
          <p:nvSpPr>
            <p:cNvPr id="14" name="Freeform 10">
              <a:extLst>
                <a:ext uri="{FF2B5EF4-FFF2-40B4-BE49-F238E27FC236}">
                  <a16:creationId xmlns:a16="http://schemas.microsoft.com/office/drawing/2014/main" id="{B4CF3333-E795-45F3-B839-187A3EA53382}"/>
                </a:ext>
              </a:extLst>
            </p:cNvPr>
            <p:cNvSpPr/>
            <p:nvPr/>
          </p:nvSpPr>
          <p:spPr>
            <a:xfrm>
              <a:off x="995045" y="2732729"/>
              <a:ext cx="1200495" cy="549401"/>
            </a:xfrm>
            <a:custGeom>
              <a:avLst/>
              <a:gdLst>
                <a:gd name="connsiteX0" fmla="*/ 0 w 1098803"/>
                <a:gd name="connsiteY0" fmla="*/ 91569 h 549401"/>
                <a:gd name="connsiteX1" fmla="*/ 91569 w 1098803"/>
                <a:gd name="connsiteY1" fmla="*/ 0 h 549401"/>
                <a:gd name="connsiteX2" fmla="*/ 1007234 w 1098803"/>
                <a:gd name="connsiteY2" fmla="*/ 0 h 549401"/>
                <a:gd name="connsiteX3" fmla="*/ 1098803 w 1098803"/>
                <a:gd name="connsiteY3" fmla="*/ 91569 h 549401"/>
                <a:gd name="connsiteX4" fmla="*/ 1098803 w 1098803"/>
                <a:gd name="connsiteY4" fmla="*/ 457832 h 549401"/>
                <a:gd name="connsiteX5" fmla="*/ 1007234 w 1098803"/>
                <a:gd name="connsiteY5" fmla="*/ 549401 h 549401"/>
                <a:gd name="connsiteX6" fmla="*/ 91569 w 1098803"/>
                <a:gd name="connsiteY6" fmla="*/ 549401 h 549401"/>
                <a:gd name="connsiteX7" fmla="*/ 0 w 1098803"/>
                <a:gd name="connsiteY7" fmla="*/ 457832 h 549401"/>
                <a:gd name="connsiteX8" fmla="*/ 0 w 1098803"/>
                <a:gd name="connsiteY8" fmla="*/ 91569 h 549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8803" h="549401">
                  <a:moveTo>
                    <a:pt x="0" y="91569"/>
                  </a:moveTo>
                  <a:cubicBezTo>
                    <a:pt x="0" y="40997"/>
                    <a:pt x="40997" y="0"/>
                    <a:pt x="91569" y="0"/>
                  </a:cubicBezTo>
                  <a:lnTo>
                    <a:pt x="1007234" y="0"/>
                  </a:lnTo>
                  <a:cubicBezTo>
                    <a:pt x="1057806" y="0"/>
                    <a:pt x="1098803" y="40997"/>
                    <a:pt x="1098803" y="91569"/>
                  </a:cubicBezTo>
                  <a:lnTo>
                    <a:pt x="1098803" y="457832"/>
                  </a:lnTo>
                  <a:cubicBezTo>
                    <a:pt x="1098803" y="508404"/>
                    <a:pt x="1057806" y="549401"/>
                    <a:pt x="1007234" y="549401"/>
                  </a:cubicBezTo>
                  <a:lnTo>
                    <a:pt x="91569" y="549401"/>
                  </a:lnTo>
                  <a:cubicBezTo>
                    <a:pt x="40997" y="549401"/>
                    <a:pt x="0" y="508404"/>
                    <a:pt x="0" y="457832"/>
                  </a:cubicBezTo>
                  <a:lnTo>
                    <a:pt x="0" y="91569"/>
                  </a:lnTo>
                  <a:close/>
                </a:path>
              </a:pathLst>
            </a:custGeom>
            <a:solidFill>
              <a:srgbClr val="0078D7">
                <a:hueOff val="0"/>
                <a:satOff val="0"/>
                <a:lumOff val="0"/>
                <a:alphaOff val="0"/>
              </a:srgbClr>
            </a:solidFill>
            <a:ln w="10795" cap="flat" cmpd="sng" algn="ctr">
              <a:solidFill>
                <a:srgbClr val="FFFFFF">
                  <a:hueOff val="0"/>
                  <a:satOff val="0"/>
                  <a:lumOff val="0"/>
                  <a:alphaOff val="0"/>
                </a:srgbClr>
              </a:solidFill>
              <a:prstDash val="solid"/>
            </a:ln>
            <a:effectLst>
              <a:glow rad="101600">
                <a:srgbClr val="5C2D91">
                  <a:satMod val="175000"/>
                  <a:alpha val="40000"/>
                </a:srgbClr>
              </a:glow>
            </a:effectLst>
          </p:spPr>
          <p:txBody>
            <a:bodyPr spcFirstLastPara="0" vert="horz" wrap="square" lIns="79420" tIns="79420" rIns="79420" bIns="79420" numCol="1" spcCol="1270" anchor="ctr" anchorCtr="0">
              <a:noAutofit/>
            </a:bodyPr>
            <a:lstStyle/>
            <a:p>
              <a:pPr marL="0" marR="0" lvl="0" indent="0" algn="ctr" defTabSz="601077" rtl="0" eaLnBrk="1" fontAlgn="auto" latinLnBrk="0" hangingPunct="1">
                <a:lnSpc>
                  <a:spcPct val="90000"/>
                </a:lnSpc>
                <a:spcBef>
                  <a:spcPct val="0"/>
                </a:spcBef>
                <a:spcAft>
                  <a:spcPct val="35000"/>
                </a:spcAft>
                <a:buClrTx/>
                <a:buSzTx/>
                <a:buFontTx/>
                <a:buNone/>
                <a:tabLst/>
                <a:defRPr/>
              </a:pPr>
              <a:r>
                <a:rPr kumimoji="0" lang="en-US" sz="2040" b="1" i="0" u="none" strike="noStrike" kern="0" cap="none" spc="0" normalizeH="0" baseline="0" noProof="0" dirty="0">
                  <a:ln>
                    <a:noFill/>
                  </a:ln>
                  <a:solidFill>
                    <a:srgbClr val="FFFF00"/>
                  </a:solidFill>
                  <a:effectLst/>
                  <a:uLnTx/>
                  <a:uFillTx/>
                  <a:latin typeface="Segoe UI"/>
                  <a:ea typeface="+mn-ea"/>
                  <a:cs typeface="+mn-cs"/>
                </a:rPr>
                <a:t>Test the Classifier</a:t>
              </a:r>
            </a:p>
          </p:txBody>
        </p:sp>
        <p:sp>
          <p:nvSpPr>
            <p:cNvPr id="15" name="Freeform 11">
              <a:extLst>
                <a:ext uri="{FF2B5EF4-FFF2-40B4-BE49-F238E27FC236}">
                  <a16:creationId xmlns:a16="http://schemas.microsoft.com/office/drawing/2014/main" id="{43C76619-EE67-4481-89A5-794D17B5EDF1}"/>
                </a:ext>
              </a:extLst>
            </p:cNvPr>
            <p:cNvSpPr/>
            <p:nvPr/>
          </p:nvSpPr>
          <p:spPr>
            <a:xfrm>
              <a:off x="279190" y="2016874"/>
              <a:ext cx="1098803" cy="549401"/>
            </a:xfrm>
            <a:custGeom>
              <a:avLst/>
              <a:gdLst>
                <a:gd name="connsiteX0" fmla="*/ 0 w 1098803"/>
                <a:gd name="connsiteY0" fmla="*/ 91569 h 549401"/>
                <a:gd name="connsiteX1" fmla="*/ 91569 w 1098803"/>
                <a:gd name="connsiteY1" fmla="*/ 0 h 549401"/>
                <a:gd name="connsiteX2" fmla="*/ 1007234 w 1098803"/>
                <a:gd name="connsiteY2" fmla="*/ 0 h 549401"/>
                <a:gd name="connsiteX3" fmla="*/ 1098803 w 1098803"/>
                <a:gd name="connsiteY3" fmla="*/ 91569 h 549401"/>
                <a:gd name="connsiteX4" fmla="*/ 1098803 w 1098803"/>
                <a:gd name="connsiteY4" fmla="*/ 457832 h 549401"/>
                <a:gd name="connsiteX5" fmla="*/ 1007234 w 1098803"/>
                <a:gd name="connsiteY5" fmla="*/ 549401 h 549401"/>
                <a:gd name="connsiteX6" fmla="*/ 91569 w 1098803"/>
                <a:gd name="connsiteY6" fmla="*/ 549401 h 549401"/>
                <a:gd name="connsiteX7" fmla="*/ 0 w 1098803"/>
                <a:gd name="connsiteY7" fmla="*/ 457832 h 549401"/>
                <a:gd name="connsiteX8" fmla="*/ 0 w 1098803"/>
                <a:gd name="connsiteY8" fmla="*/ 91569 h 549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8803" h="549401">
                  <a:moveTo>
                    <a:pt x="0" y="91569"/>
                  </a:moveTo>
                  <a:cubicBezTo>
                    <a:pt x="0" y="40997"/>
                    <a:pt x="40997" y="0"/>
                    <a:pt x="91569" y="0"/>
                  </a:cubicBezTo>
                  <a:lnTo>
                    <a:pt x="1007234" y="0"/>
                  </a:lnTo>
                  <a:cubicBezTo>
                    <a:pt x="1057806" y="0"/>
                    <a:pt x="1098803" y="40997"/>
                    <a:pt x="1098803" y="91569"/>
                  </a:cubicBezTo>
                  <a:lnTo>
                    <a:pt x="1098803" y="457832"/>
                  </a:lnTo>
                  <a:cubicBezTo>
                    <a:pt x="1098803" y="508404"/>
                    <a:pt x="1057806" y="549401"/>
                    <a:pt x="1007234" y="549401"/>
                  </a:cubicBezTo>
                  <a:lnTo>
                    <a:pt x="91569" y="549401"/>
                  </a:lnTo>
                  <a:cubicBezTo>
                    <a:pt x="40997" y="549401"/>
                    <a:pt x="0" y="508404"/>
                    <a:pt x="0" y="457832"/>
                  </a:cubicBezTo>
                  <a:lnTo>
                    <a:pt x="0" y="91569"/>
                  </a:lnTo>
                  <a:close/>
                </a:path>
              </a:pathLst>
            </a:custGeom>
            <a:solidFill>
              <a:srgbClr val="0078D7">
                <a:hueOff val="0"/>
                <a:satOff val="0"/>
                <a:lumOff val="0"/>
                <a:alphaOff val="0"/>
              </a:srgbClr>
            </a:solidFill>
            <a:ln w="10795" cap="flat" cmpd="sng" algn="ctr">
              <a:solidFill>
                <a:srgbClr val="FFFFFF">
                  <a:hueOff val="0"/>
                  <a:satOff val="0"/>
                  <a:lumOff val="0"/>
                  <a:alphaOff val="0"/>
                </a:srgbClr>
              </a:solidFill>
              <a:prstDash val="solid"/>
            </a:ln>
            <a:effectLst>
              <a:glow rad="101600">
                <a:srgbClr val="5C2D91">
                  <a:satMod val="175000"/>
                  <a:alpha val="40000"/>
                </a:srgbClr>
              </a:glow>
            </a:effectLst>
          </p:spPr>
          <p:txBody>
            <a:bodyPr spcFirstLastPara="0" vert="horz" wrap="square" lIns="79420" tIns="79420" rIns="79420" bIns="79420" numCol="1" spcCol="1270" anchor="ctr" anchorCtr="0">
              <a:noAutofit/>
            </a:bodyPr>
            <a:lstStyle/>
            <a:p>
              <a:pPr marL="0" marR="0" lvl="0" indent="0" algn="ctr" defTabSz="601077" rtl="0" eaLnBrk="1" fontAlgn="auto" latinLnBrk="0" hangingPunct="1">
                <a:lnSpc>
                  <a:spcPct val="90000"/>
                </a:lnSpc>
                <a:spcBef>
                  <a:spcPct val="0"/>
                </a:spcBef>
                <a:spcAft>
                  <a:spcPct val="35000"/>
                </a:spcAft>
                <a:buClrTx/>
                <a:buSzTx/>
                <a:buFontTx/>
                <a:buNone/>
                <a:tabLst/>
                <a:defRPr/>
              </a:pPr>
              <a:r>
                <a:rPr kumimoji="0" lang="en-US" sz="2040" b="1" i="0" u="none" strike="noStrike" kern="0" cap="none" spc="0" normalizeH="0" baseline="0" noProof="0" dirty="0">
                  <a:ln>
                    <a:noFill/>
                  </a:ln>
                  <a:solidFill>
                    <a:srgbClr val="FFFF00"/>
                  </a:solidFill>
                  <a:effectLst/>
                  <a:uLnTx/>
                  <a:uFillTx/>
                  <a:latin typeface="Segoe UI"/>
                  <a:ea typeface="+mn-ea"/>
                  <a:cs typeface="+mn-cs"/>
                </a:rPr>
                <a:t>Evaluate Classifier Results</a:t>
              </a:r>
            </a:p>
          </p:txBody>
        </p:sp>
      </p:grpSp>
      <p:sp>
        <p:nvSpPr>
          <p:cNvPr id="16" name="TextBox 15">
            <a:extLst>
              <a:ext uri="{FF2B5EF4-FFF2-40B4-BE49-F238E27FC236}">
                <a16:creationId xmlns:a16="http://schemas.microsoft.com/office/drawing/2014/main" id="{0C3367D2-5410-43E8-B334-9FDFF589519A}"/>
              </a:ext>
            </a:extLst>
          </p:cNvPr>
          <p:cNvSpPr txBox="1"/>
          <p:nvPr/>
        </p:nvSpPr>
        <p:spPr>
          <a:xfrm>
            <a:off x="3788567" y="2287406"/>
            <a:ext cx="3730413" cy="704779"/>
          </a:xfrm>
          <a:prstGeom prst="rect">
            <a:avLst/>
          </a:prstGeom>
          <a:solidFill>
            <a:srgbClr val="0078D7">
              <a:tint val="65000"/>
            </a:srgbClr>
          </a:solidFill>
          <a:ln w="9525" cap="flat" cmpd="sng" algn="ctr">
            <a:solidFill>
              <a:srgbClr val="0078D7"/>
            </a:solidFill>
            <a:prstDash val="solid"/>
          </a:ln>
          <a:effectLst>
            <a:glow rad="101600">
              <a:srgbClr val="5C2D91">
                <a:satMod val="175000"/>
                <a:alpha val="40000"/>
              </a:srgbClr>
            </a:glow>
          </a:effectLst>
        </p:spPr>
        <p:txBody>
          <a:bodyPr wrap="square" lIns="186521" tIns="149217" rIns="186521" bIns="149217" rtlCol="0">
            <a:spAutoFit/>
          </a:bodyPr>
          <a:lstStyle>
            <a:defPPr>
              <a:defRPr lang="en-US"/>
            </a:defPPr>
            <a:lvl1pPr marR="0" lvl="0" indent="0" defTabSz="914400" fontAlgn="auto">
              <a:lnSpc>
                <a:spcPct val="90000"/>
              </a:lnSpc>
              <a:spcBef>
                <a:spcPts val="0"/>
              </a:spcBef>
              <a:spcAft>
                <a:spcPts val="600"/>
              </a:spcAft>
              <a:buClrTx/>
              <a:buSzTx/>
              <a:buFontTx/>
              <a:buNone/>
              <a:tabLst/>
              <a:defRPr kumimoji="0" b="0" i="0" u="none" strike="noStrike" kern="0" cap="none" spc="0" normalizeH="0" baseline="0">
                <a:ln>
                  <a:noFill/>
                </a:ln>
                <a:solidFill>
                  <a:srgbClr val="FFFFFF"/>
                </a:solidFill>
                <a:effectLst/>
                <a:uLnTx/>
                <a:uFillTx/>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597" rtl="0" eaLnBrk="1" fontAlgn="auto" latinLnBrk="0" hangingPunct="1">
              <a:lnSpc>
                <a:spcPct val="90000"/>
              </a:lnSpc>
              <a:spcBef>
                <a:spcPts val="0"/>
              </a:spcBef>
              <a:spcAft>
                <a:spcPts val="612"/>
              </a:spcAft>
              <a:buClrTx/>
              <a:buSzTx/>
              <a:buFontTx/>
              <a:buNone/>
              <a:tabLst/>
              <a:defRPr/>
            </a:pPr>
            <a:r>
              <a:rPr kumimoji="0" lang="en-US" sz="2856" b="1" i="0" u="none" strike="noStrike" kern="0" cap="none" spc="0" normalizeH="0" baseline="0" noProof="0" dirty="0">
                <a:ln>
                  <a:noFill/>
                </a:ln>
                <a:solidFill>
                  <a:srgbClr val="FFFF00"/>
                </a:solidFill>
                <a:effectLst/>
                <a:uLnTx/>
                <a:uFillTx/>
                <a:latin typeface="Segoe UI"/>
                <a:ea typeface="+mn-ea"/>
                <a:cs typeface="+mn-cs"/>
              </a:rPr>
              <a:t>Build and Model</a:t>
            </a:r>
          </a:p>
        </p:txBody>
      </p:sp>
      <p:sp>
        <p:nvSpPr>
          <p:cNvPr id="17" name="TextBox 16">
            <a:extLst>
              <a:ext uri="{FF2B5EF4-FFF2-40B4-BE49-F238E27FC236}">
                <a16:creationId xmlns:a16="http://schemas.microsoft.com/office/drawing/2014/main" id="{9A884D09-F061-4872-8D6A-78511DC7F967}"/>
              </a:ext>
            </a:extLst>
          </p:cNvPr>
          <p:cNvSpPr txBox="1"/>
          <p:nvPr/>
        </p:nvSpPr>
        <p:spPr>
          <a:xfrm>
            <a:off x="275486" y="2180735"/>
            <a:ext cx="2380320" cy="979483"/>
          </a:xfrm>
          <a:prstGeom prst="rect">
            <a:avLst/>
          </a:prstGeom>
          <a:solidFill>
            <a:srgbClr val="0078D7">
              <a:tint val="65000"/>
            </a:srgbClr>
          </a:solidFill>
          <a:ln w="9525" cap="flat" cmpd="sng" algn="ctr">
            <a:solidFill>
              <a:srgbClr val="0078D7"/>
            </a:solidFill>
            <a:prstDash val="solid"/>
          </a:ln>
          <a:effectLst>
            <a:glow rad="139700">
              <a:srgbClr val="5C2D91">
                <a:satMod val="175000"/>
                <a:alpha val="40000"/>
              </a:srgbClr>
            </a:glow>
          </a:effectLst>
        </p:spPr>
        <p:txBody>
          <a:bodyPr wrap="square" lIns="186521" tIns="149217" rIns="186521" bIns="149217" rtlCol="0">
            <a:spAutoFit/>
          </a:bodyPr>
          <a:lstStyle>
            <a:defPPr>
              <a:defRPr lang="en-US"/>
            </a:defPPr>
            <a:lvl1pPr marR="0" lvl="0" indent="0" algn="ctr" defTabSz="914400" fontAlgn="auto">
              <a:lnSpc>
                <a:spcPct val="90000"/>
              </a:lnSpc>
              <a:spcBef>
                <a:spcPts val="0"/>
              </a:spcBef>
              <a:spcAft>
                <a:spcPts val="600"/>
              </a:spcAft>
              <a:buClrTx/>
              <a:buSzTx/>
              <a:buFontTx/>
              <a:buNone/>
              <a:tabLst/>
              <a:defRPr kumimoji="0" sz="2800" b="0" i="0" u="none" strike="noStrike" kern="0" cap="none" spc="0" normalizeH="0" baseline="0">
                <a:ln>
                  <a:noFill/>
                </a:ln>
                <a:solidFill>
                  <a:srgbClr val="FFFFFF"/>
                </a:solidFill>
                <a:effectLst/>
                <a:uLnTx/>
                <a:uFillTx/>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597" rtl="0" eaLnBrk="1" fontAlgn="auto" latinLnBrk="0" hangingPunct="1">
              <a:lnSpc>
                <a:spcPct val="90000"/>
              </a:lnSpc>
              <a:spcBef>
                <a:spcPts val="0"/>
              </a:spcBef>
              <a:spcAft>
                <a:spcPts val="612"/>
              </a:spcAft>
              <a:buClrTx/>
              <a:buSzTx/>
              <a:buFontTx/>
              <a:buNone/>
              <a:tabLst/>
              <a:defRPr/>
            </a:pPr>
            <a:r>
              <a:rPr kumimoji="0" lang="en-US" sz="2448" b="1" i="0" u="none" strike="noStrike" kern="0" cap="none" spc="0" normalizeH="0" baseline="0" noProof="0" dirty="0">
                <a:ln>
                  <a:noFill/>
                </a:ln>
                <a:solidFill>
                  <a:srgbClr val="FFFF00"/>
                </a:solidFill>
                <a:effectLst/>
                <a:uLnTx/>
                <a:uFillTx/>
                <a:latin typeface="Segoe UI"/>
                <a:ea typeface="+mn-ea"/>
                <a:cs typeface="+mn-cs"/>
              </a:rPr>
              <a:t>Upload Images</a:t>
            </a:r>
          </a:p>
        </p:txBody>
      </p:sp>
      <p:sp>
        <p:nvSpPr>
          <p:cNvPr id="18" name="TextBox 17">
            <a:extLst>
              <a:ext uri="{FF2B5EF4-FFF2-40B4-BE49-F238E27FC236}">
                <a16:creationId xmlns:a16="http://schemas.microsoft.com/office/drawing/2014/main" id="{ECB9B500-7E7F-4743-869A-30784BE3C669}"/>
              </a:ext>
            </a:extLst>
          </p:cNvPr>
          <p:cNvSpPr txBox="1"/>
          <p:nvPr/>
        </p:nvSpPr>
        <p:spPr>
          <a:xfrm>
            <a:off x="8147425" y="2173987"/>
            <a:ext cx="1929031" cy="979483"/>
          </a:xfrm>
          <a:prstGeom prst="rect">
            <a:avLst/>
          </a:prstGeom>
          <a:solidFill>
            <a:srgbClr val="0078D7">
              <a:tint val="65000"/>
            </a:srgbClr>
          </a:solidFill>
          <a:ln w="9525" cap="flat" cmpd="sng" algn="ctr">
            <a:solidFill>
              <a:srgbClr val="0078D7"/>
            </a:solidFill>
            <a:prstDash val="solid"/>
          </a:ln>
          <a:effectLst/>
        </p:spPr>
        <p:txBody>
          <a:bodyPr wrap="square" lIns="186521" tIns="149217" rIns="186521" bIns="149217" rtlCol="0">
            <a:spAutoFit/>
          </a:bodyPr>
          <a:lstStyle>
            <a:defPPr>
              <a:defRPr lang="en-US"/>
            </a:defPPr>
            <a:lvl1pPr marR="0" lvl="0" indent="0" algn="ctr" defTabSz="914400" fontAlgn="auto">
              <a:lnSpc>
                <a:spcPct val="90000"/>
              </a:lnSpc>
              <a:spcBef>
                <a:spcPts val="0"/>
              </a:spcBef>
              <a:spcAft>
                <a:spcPts val="600"/>
              </a:spcAft>
              <a:buClrTx/>
              <a:buSzTx/>
              <a:buFontTx/>
              <a:buNone/>
              <a:tabLst/>
              <a:defRPr kumimoji="0" sz="2400" b="0" i="0" u="none" strike="noStrike" kern="0" cap="none" spc="0" normalizeH="0" baseline="0">
                <a:ln>
                  <a:noFill/>
                </a:ln>
                <a:solidFill>
                  <a:srgbClr val="FFFFFF"/>
                </a:solidFill>
                <a:effectLst/>
                <a:uLnTx/>
                <a:uFillTx/>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932597">
              <a:spcAft>
                <a:spcPts val="612"/>
              </a:spcAft>
              <a:defRPr/>
            </a:pPr>
            <a:r>
              <a:rPr lang="en-US" sz="2448" b="1" dirty="0">
                <a:solidFill>
                  <a:srgbClr val="FFFF00"/>
                </a:solidFill>
              </a:rPr>
              <a:t>Prediction API</a:t>
            </a:r>
          </a:p>
        </p:txBody>
      </p:sp>
      <p:sp>
        <p:nvSpPr>
          <p:cNvPr id="19" name="TextBox 18">
            <a:extLst>
              <a:ext uri="{FF2B5EF4-FFF2-40B4-BE49-F238E27FC236}">
                <a16:creationId xmlns:a16="http://schemas.microsoft.com/office/drawing/2014/main" id="{315AC657-F73A-459C-9FC0-A0610ED0AEE5}"/>
              </a:ext>
            </a:extLst>
          </p:cNvPr>
          <p:cNvSpPr txBox="1"/>
          <p:nvPr/>
        </p:nvSpPr>
        <p:spPr>
          <a:xfrm>
            <a:off x="10607246" y="2173986"/>
            <a:ext cx="1828347" cy="979483"/>
          </a:xfrm>
          <a:prstGeom prst="rect">
            <a:avLst/>
          </a:prstGeom>
          <a:solidFill>
            <a:srgbClr val="0078D7">
              <a:tint val="65000"/>
            </a:srgbClr>
          </a:solidFill>
          <a:ln w="9525" cap="flat" cmpd="sng" algn="ctr">
            <a:solidFill>
              <a:srgbClr val="0078D7"/>
            </a:solidFill>
            <a:prstDash val="solid"/>
          </a:ln>
          <a:effectLst/>
        </p:spPr>
        <p:txBody>
          <a:bodyPr wrap="square" lIns="186521" tIns="149217" rIns="186521" bIns="149217" rtlCol="0">
            <a:spAutoFit/>
          </a:bodyPr>
          <a:lstStyle>
            <a:defPPr>
              <a:defRPr lang="en-US"/>
            </a:defPPr>
            <a:lvl1pPr marR="0" lvl="0" indent="0" algn="ctr" defTabSz="914400" fontAlgn="auto">
              <a:lnSpc>
                <a:spcPct val="90000"/>
              </a:lnSpc>
              <a:spcBef>
                <a:spcPts val="0"/>
              </a:spcBef>
              <a:spcAft>
                <a:spcPts val="600"/>
              </a:spcAft>
              <a:buClrTx/>
              <a:buSzTx/>
              <a:buFontTx/>
              <a:buNone/>
              <a:tabLst/>
              <a:defRPr kumimoji="0" sz="2400" b="0" i="0" u="none" strike="noStrike" kern="0" cap="none" spc="0" normalizeH="0" baseline="0">
                <a:ln>
                  <a:noFill/>
                </a:ln>
                <a:solidFill>
                  <a:srgbClr val="FFFFFF"/>
                </a:solidFill>
                <a:effectLst/>
                <a:uLnTx/>
                <a:uFillTx/>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932597">
              <a:spcAft>
                <a:spcPts val="612"/>
              </a:spcAft>
              <a:defRPr/>
            </a:pPr>
            <a:r>
              <a:rPr lang="en-US" sz="2448" b="1" dirty="0">
                <a:solidFill>
                  <a:srgbClr val="FFFF00"/>
                </a:solidFill>
              </a:rPr>
              <a:t>Consume Model</a:t>
            </a:r>
          </a:p>
        </p:txBody>
      </p:sp>
    </p:spTree>
    <p:custDataLst>
      <p:tags r:id="rId1"/>
    </p:custDataLst>
    <p:extLst>
      <p:ext uri="{BB962C8B-B14F-4D97-AF65-F5344CB8AC3E}">
        <p14:creationId xmlns:p14="http://schemas.microsoft.com/office/powerpoint/2010/main" val="3588618763"/>
      </p:ext>
    </p:extLst>
  </p:cSld>
  <p:clrMapOvr>
    <a:masterClrMapping/>
  </p:clrMapOvr>
  <p:transition spd="slow">
    <p:wip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005909"/>
            <a:ext cx="7295745" cy="771751"/>
          </a:xfrm>
        </p:spPr>
        <p:txBody>
          <a:bodyPr vert="horz" wrap="square" lIns="146283" tIns="91428" rIns="146283" bIns="91428" numCol="1" rtlCol="0" anchor="t" anchorCtr="0" compatLnSpc="1">
            <a:prstTxWarp prst="textNoShape">
              <a:avLst/>
            </a:prstTxWarp>
            <a:noAutofit/>
          </a:bodyPr>
          <a:lstStyle/>
          <a:p>
            <a:pPr algn="l"/>
            <a:r>
              <a:rPr lang="en-US" sz="4399" dirty="0">
                <a:solidFill>
                  <a:schemeClr val="tx1">
                    <a:lumMod val="75000"/>
                  </a:schemeClr>
                </a:solidFill>
              </a:rPr>
              <a:t>Prerequisites for Custom Vision</a:t>
            </a:r>
            <a:endParaRPr lang="en-US" sz="4399" dirty="0">
              <a:solidFill>
                <a:srgbClr val="00B050"/>
              </a:solidFill>
            </a:endParaRPr>
          </a:p>
        </p:txBody>
      </p:sp>
      <p:sp>
        <p:nvSpPr>
          <p:cNvPr id="5" name="Rectangle 4">
            <a:extLst>
              <a:ext uri="{FF2B5EF4-FFF2-40B4-BE49-F238E27FC236}">
                <a16:creationId xmlns:a16="http://schemas.microsoft.com/office/drawing/2014/main" id="{B7E00651-8FD1-4823-84F5-360DA2EA629C}"/>
              </a:ext>
            </a:extLst>
          </p:cNvPr>
          <p:cNvSpPr/>
          <p:nvPr/>
        </p:nvSpPr>
        <p:spPr>
          <a:xfrm>
            <a:off x="765343" y="2295297"/>
            <a:ext cx="3887630" cy="3693319"/>
          </a:xfrm>
          <a:prstGeom prst="rect">
            <a:avLst/>
          </a:prstGeom>
        </p:spPr>
        <p:txBody>
          <a:bodyPr wrap="square">
            <a:spAutoFit/>
          </a:bodyPr>
          <a:lstStyle/>
          <a:p>
            <a:r>
              <a:rPr lang="en-GB" dirty="0"/>
              <a:t>A valid Microsoft account or Azure Active Directory </a:t>
            </a:r>
            <a:r>
              <a:rPr lang="en-GB" dirty="0" err="1"/>
              <a:t>OrgID</a:t>
            </a:r>
            <a:endParaRPr lang="en-GB" dirty="0"/>
          </a:p>
          <a:p>
            <a:endParaRPr lang="en-GB" dirty="0"/>
          </a:p>
          <a:p>
            <a:r>
              <a:rPr lang="en-GB" dirty="0"/>
              <a:t>A series of images to train the classifier</a:t>
            </a:r>
          </a:p>
          <a:p>
            <a:endParaRPr lang="en-GB" dirty="0"/>
          </a:p>
          <a:p>
            <a:r>
              <a:rPr lang="en-GB" dirty="0"/>
              <a:t>A few images to test the classifier after training</a:t>
            </a:r>
          </a:p>
          <a:p>
            <a:endParaRPr lang="en-GB" dirty="0"/>
          </a:p>
          <a:p>
            <a:endParaRPr lang="en-GB" dirty="0"/>
          </a:p>
          <a:p>
            <a:endParaRPr lang="en-GB" dirty="0"/>
          </a:p>
          <a:p>
            <a:r>
              <a:rPr lang="en-GB" dirty="0"/>
              <a:t>Note: the lab will only use 10 images per classifier to minimize lab time</a:t>
            </a:r>
          </a:p>
        </p:txBody>
      </p:sp>
      <p:pic>
        <p:nvPicPr>
          <p:cNvPr id="11" name="Picture 10">
            <a:extLst>
              <a:ext uri="{FF2B5EF4-FFF2-40B4-BE49-F238E27FC236}">
                <a16:creationId xmlns:a16="http://schemas.microsoft.com/office/drawing/2014/main" id="{0DD9A341-DE50-4C79-AD5D-6B942A119D68}"/>
              </a:ext>
            </a:extLst>
          </p:cNvPr>
          <p:cNvPicPr>
            <a:picLocks noChangeAspect="1"/>
          </p:cNvPicPr>
          <p:nvPr/>
        </p:nvPicPr>
        <p:blipFill>
          <a:blip r:embed="rId4"/>
          <a:stretch>
            <a:fillRect/>
          </a:stretch>
        </p:blipFill>
        <p:spPr>
          <a:xfrm>
            <a:off x="5160864" y="1918740"/>
            <a:ext cx="6531284" cy="4791833"/>
          </a:xfrm>
          <a:prstGeom prst="rect">
            <a:avLst/>
          </a:prstGeom>
        </p:spPr>
      </p:pic>
    </p:spTree>
    <p:custDataLst>
      <p:tags r:id="rId1"/>
    </p:custDataLst>
    <p:extLst>
      <p:ext uri="{BB962C8B-B14F-4D97-AF65-F5344CB8AC3E}">
        <p14:creationId xmlns:p14="http://schemas.microsoft.com/office/powerpoint/2010/main" val="3618461629"/>
      </p:ext>
    </p:extLst>
  </p:cSld>
  <p:clrMapOvr>
    <a:masterClrMapping/>
  </p:clrMapOvr>
  <p:transition spd="slow">
    <p:wip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9" y="1410541"/>
            <a:ext cx="4892040" cy="4173450"/>
          </a:xfrm>
        </p:spPr>
        <p:txBody>
          <a:bodyPr/>
          <a:lstStyle/>
          <a:p>
            <a:r>
              <a:rPr lang="en-GB" dirty="0"/>
              <a:t>Demo:</a:t>
            </a:r>
            <a:br>
              <a:rPr lang="en-GB" dirty="0"/>
            </a:br>
            <a:r>
              <a:rPr lang="en-GB" dirty="0"/>
              <a:t> </a:t>
            </a:r>
            <a:br>
              <a:rPr lang="en-GB" dirty="0"/>
            </a:br>
            <a:r>
              <a:rPr lang="en-GB" dirty="0"/>
              <a:t>Using the </a:t>
            </a:r>
            <a:br>
              <a:rPr lang="en-GB" dirty="0"/>
            </a:br>
            <a:r>
              <a:rPr lang="en-GB" dirty="0"/>
              <a:t>Customvision.ai</a:t>
            </a:r>
            <a:br>
              <a:rPr lang="en-GB" dirty="0"/>
            </a:br>
            <a:r>
              <a:rPr lang="en-GB" dirty="0"/>
              <a:t>Website</a:t>
            </a:r>
            <a:br>
              <a:rPr lang="en-GB" dirty="0"/>
            </a:br>
            <a:endParaRPr lang="en-US" dirty="0"/>
          </a:p>
        </p:txBody>
      </p:sp>
      <p:sp>
        <p:nvSpPr>
          <p:cNvPr id="5" name="Picture Placeholder 4"/>
          <p:cNvSpPr>
            <a:spLocks noGrp="1"/>
          </p:cNvSpPr>
          <p:nvPr>
            <p:ph type="pic" sz="quarter" idx="10"/>
          </p:nvPr>
        </p:nvSpPr>
        <p:spPr/>
      </p:sp>
    </p:spTree>
    <p:custDataLst>
      <p:tags r:id="rId1"/>
    </p:custDataLst>
    <p:extLst>
      <p:ext uri="{BB962C8B-B14F-4D97-AF65-F5344CB8AC3E}">
        <p14:creationId xmlns:p14="http://schemas.microsoft.com/office/powerpoint/2010/main" val="4061034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rotWithShape="1">
          <a:blip r:embed="rId4" cstate="print">
            <a:extLst>
              <a:ext uri="{28A0092B-C50C-407E-A947-70E740481C1C}">
                <a14:useLocalDpi xmlns:a14="http://schemas.microsoft.com/office/drawing/2010/main" val="0"/>
              </a:ext>
            </a:extLst>
          </a:blip>
          <a:srcRect/>
          <a:stretch/>
        </p:blipFill>
        <p:spPr>
          <a:xfrm>
            <a:off x="882" y="-1"/>
            <a:ext cx="12868409" cy="6994525"/>
          </a:xfrm>
          <a:prstGeom prst="rect">
            <a:avLst/>
          </a:prstGeom>
          <a:noFill/>
          <a:ln>
            <a:noFill/>
          </a:ln>
        </p:spPr>
      </p:pic>
      <p:sp>
        <p:nvSpPr>
          <p:cNvPr id="7" name="Rectangle 6"/>
          <p:cNvSpPr/>
          <p:nvPr/>
        </p:nvSpPr>
        <p:spPr bwMode="ltGray">
          <a:xfrm>
            <a:off x="264724" y="297302"/>
            <a:ext cx="5485622" cy="638914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latin typeface="Segoe UI"/>
              <a:ea typeface="Segoe UI" pitchFamily="34" charset="0"/>
              <a:cs typeface="Segoe UI" pitchFamily="34" charset="0"/>
            </a:endParaRPr>
          </a:p>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latin typeface="Segoe UI"/>
                <a:ea typeface="Segoe UI" pitchFamily="34" charset="0"/>
                <a:cs typeface="Segoe UI" pitchFamily="34" charset="0"/>
              </a:rPr>
              <a:t>Using the Custom Vision website.</a:t>
            </a:r>
          </a:p>
        </p:txBody>
      </p:sp>
      <p:sp>
        <p:nvSpPr>
          <p:cNvPr id="17" name="Title 16"/>
          <p:cNvSpPr>
            <a:spLocks noGrp="1"/>
          </p:cNvSpPr>
          <p:nvPr>
            <p:ph type="title"/>
          </p:nvPr>
        </p:nvSpPr>
        <p:spPr/>
        <p:txBody>
          <a:bodyPr>
            <a:normAutofit fontScale="90000"/>
          </a:bodyPr>
          <a:lstStyle/>
          <a:p>
            <a:r>
              <a:rPr lang="en-US" dirty="0"/>
              <a:t>Lab 1:</a:t>
            </a:r>
          </a:p>
        </p:txBody>
      </p:sp>
      <p:pic>
        <p:nvPicPr>
          <p:cNvPr id="11" name="Picture 10"/>
          <p:cNvPicPr>
            <a:picLocks noChangeAspect="1"/>
          </p:cNvPicPr>
          <p:nvPr/>
        </p:nvPicPr>
        <p:blipFill rotWithShape="1">
          <a:blip r:embed="rId5"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Tree>
    <p:custDataLst>
      <p:tags r:id="rId1"/>
    </p:custDataLst>
    <p:extLst>
      <p:ext uri="{BB962C8B-B14F-4D97-AF65-F5344CB8AC3E}">
        <p14:creationId xmlns:p14="http://schemas.microsoft.com/office/powerpoint/2010/main" val="34407261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74638" y="2125662"/>
            <a:ext cx="11887200" cy="1098762"/>
          </a:xfrm>
        </p:spPr>
        <p:txBody>
          <a:bodyPr/>
          <a:lstStyle/>
          <a:p>
            <a:r>
              <a:rPr lang="en-GB" sz="6600" dirty="0"/>
              <a:t>Custom Vision APIs</a:t>
            </a:r>
          </a:p>
        </p:txBody>
      </p:sp>
    </p:spTree>
    <p:custDataLst>
      <p:tags r:id="rId1"/>
    </p:custDataLst>
    <p:extLst>
      <p:ext uri="{BB962C8B-B14F-4D97-AF65-F5344CB8AC3E}">
        <p14:creationId xmlns:p14="http://schemas.microsoft.com/office/powerpoint/2010/main" val="15259543"/>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75833" y="742256"/>
            <a:ext cx="9438953" cy="892128"/>
          </a:xfrm>
        </p:spPr>
        <p:txBody>
          <a:bodyPr vert="horz" wrap="square" lIns="146283" tIns="91428" rIns="146283" bIns="91428" numCol="1" rtlCol="0" anchor="t" anchorCtr="0" compatLnSpc="1">
            <a:prstTxWarp prst="textNoShape">
              <a:avLst/>
            </a:prstTxWarp>
            <a:noAutofit/>
          </a:bodyPr>
          <a:lstStyle/>
          <a:p>
            <a:pPr algn="l"/>
            <a:r>
              <a:rPr lang="en-US" sz="4399" dirty="0">
                <a:solidFill>
                  <a:schemeClr val="tx1">
                    <a:lumMod val="75000"/>
                  </a:schemeClr>
                </a:solidFill>
              </a:rPr>
              <a:t>Type of Custom Vision Client Library’s</a:t>
            </a:r>
            <a:endParaRPr lang="en-US" sz="4399" dirty="0">
              <a:solidFill>
                <a:srgbClr val="00B050"/>
              </a:solidFill>
            </a:endParaRPr>
          </a:p>
        </p:txBody>
      </p:sp>
      <p:pic>
        <p:nvPicPr>
          <p:cNvPr id="6" name="Picture 5">
            <a:extLst>
              <a:ext uri="{FF2B5EF4-FFF2-40B4-BE49-F238E27FC236}">
                <a16:creationId xmlns:a16="http://schemas.microsoft.com/office/drawing/2014/main" id="{EAB72AE2-AFEE-4372-B7B6-BE249A9AEA9C}"/>
              </a:ext>
            </a:extLst>
          </p:cNvPr>
          <p:cNvPicPr>
            <a:picLocks noChangeAspect="1"/>
          </p:cNvPicPr>
          <p:nvPr/>
        </p:nvPicPr>
        <p:blipFill>
          <a:blip r:embed="rId4"/>
          <a:stretch>
            <a:fillRect/>
          </a:stretch>
        </p:blipFill>
        <p:spPr>
          <a:xfrm>
            <a:off x="335592" y="1911338"/>
            <a:ext cx="5795606" cy="2962297"/>
          </a:xfrm>
          <a:prstGeom prst="rect">
            <a:avLst/>
          </a:prstGeom>
        </p:spPr>
      </p:pic>
      <p:pic>
        <p:nvPicPr>
          <p:cNvPr id="7" name="Picture 6">
            <a:extLst>
              <a:ext uri="{FF2B5EF4-FFF2-40B4-BE49-F238E27FC236}">
                <a16:creationId xmlns:a16="http://schemas.microsoft.com/office/drawing/2014/main" id="{4937AF17-5DF3-4CD4-B5CE-9973918BDC0E}"/>
              </a:ext>
            </a:extLst>
          </p:cNvPr>
          <p:cNvPicPr>
            <a:picLocks noChangeAspect="1"/>
          </p:cNvPicPr>
          <p:nvPr/>
        </p:nvPicPr>
        <p:blipFill>
          <a:blip r:embed="rId5"/>
          <a:stretch>
            <a:fillRect/>
          </a:stretch>
        </p:blipFill>
        <p:spPr>
          <a:xfrm>
            <a:off x="7538286" y="1858779"/>
            <a:ext cx="3731674" cy="4757173"/>
          </a:xfrm>
          <a:prstGeom prst="rect">
            <a:avLst/>
          </a:prstGeom>
        </p:spPr>
      </p:pic>
      <p:pic>
        <p:nvPicPr>
          <p:cNvPr id="5" name="Picture 4">
            <a:extLst>
              <a:ext uri="{FF2B5EF4-FFF2-40B4-BE49-F238E27FC236}">
                <a16:creationId xmlns:a16="http://schemas.microsoft.com/office/drawing/2014/main" id="{B5C8C7F4-0E74-4EEA-9FBA-44E7CE8D36D4}"/>
              </a:ext>
            </a:extLst>
          </p:cNvPr>
          <p:cNvPicPr>
            <a:picLocks noChangeAspect="1"/>
          </p:cNvPicPr>
          <p:nvPr/>
        </p:nvPicPr>
        <p:blipFill>
          <a:blip r:embed="rId6"/>
          <a:stretch>
            <a:fillRect/>
          </a:stretch>
        </p:blipFill>
        <p:spPr>
          <a:xfrm>
            <a:off x="322791" y="1911338"/>
            <a:ext cx="5821207" cy="2962297"/>
          </a:xfrm>
          <a:prstGeom prst="rect">
            <a:avLst/>
          </a:prstGeom>
        </p:spPr>
      </p:pic>
    </p:spTree>
    <p:custDataLst>
      <p:tags r:id="rId1"/>
    </p:custDataLst>
    <p:extLst>
      <p:ext uri="{BB962C8B-B14F-4D97-AF65-F5344CB8AC3E}">
        <p14:creationId xmlns:p14="http://schemas.microsoft.com/office/powerpoint/2010/main" val="3251482345"/>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882" y="1104590"/>
            <a:ext cx="6105720" cy="1004098"/>
          </a:xfrm>
        </p:spPr>
        <p:txBody>
          <a:bodyPr vert="horz" wrap="square" lIns="146283" tIns="91428" rIns="146283" bIns="91428" numCol="1" rtlCol="0" anchor="t" anchorCtr="0" compatLnSpc="1">
            <a:prstTxWarp prst="textNoShape">
              <a:avLst/>
            </a:prstTxWarp>
            <a:noAutofit/>
          </a:bodyPr>
          <a:lstStyle/>
          <a:p>
            <a:pPr algn="l"/>
            <a:r>
              <a:rPr lang="en-US" sz="4399" dirty="0">
                <a:solidFill>
                  <a:schemeClr val="tx1">
                    <a:lumMod val="75000"/>
                  </a:schemeClr>
                </a:solidFill>
              </a:rPr>
              <a:t>Obtaining a training key</a:t>
            </a:r>
            <a:endParaRPr lang="en-US" sz="4399" dirty="0">
              <a:solidFill>
                <a:srgbClr val="00B050"/>
              </a:solidFill>
            </a:endParaRPr>
          </a:p>
        </p:txBody>
      </p:sp>
      <p:pic>
        <p:nvPicPr>
          <p:cNvPr id="5" name="Picture 4">
            <a:extLst>
              <a:ext uri="{FF2B5EF4-FFF2-40B4-BE49-F238E27FC236}">
                <a16:creationId xmlns:a16="http://schemas.microsoft.com/office/drawing/2014/main" id="{1244648B-14AF-4036-943D-D6DDC559D2F0}"/>
              </a:ext>
            </a:extLst>
          </p:cNvPr>
          <p:cNvPicPr>
            <a:picLocks noChangeAspect="1"/>
          </p:cNvPicPr>
          <p:nvPr/>
        </p:nvPicPr>
        <p:blipFill>
          <a:blip r:embed="rId4"/>
          <a:stretch>
            <a:fillRect/>
          </a:stretch>
        </p:blipFill>
        <p:spPr>
          <a:xfrm>
            <a:off x="-882" y="2443397"/>
            <a:ext cx="12436475" cy="4417237"/>
          </a:xfrm>
          <a:prstGeom prst="rect">
            <a:avLst/>
          </a:prstGeom>
        </p:spPr>
      </p:pic>
      <p:sp>
        <p:nvSpPr>
          <p:cNvPr id="6" name="Rectangle: Rounded Corners 5">
            <a:extLst>
              <a:ext uri="{FF2B5EF4-FFF2-40B4-BE49-F238E27FC236}">
                <a16:creationId xmlns:a16="http://schemas.microsoft.com/office/drawing/2014/main" id="{6EEBD14E-65B2-451F-965F-D1080C9FAC8B}"/>
              </a:ext>
            </a:extLst>
          </p:cNvPr>
          <p:cNvSpPr/>
          <p:nvPr/>
        </p:nvSpPr>
        <p:spPr bwMode="auto">
          <a:xfrm>
            <a:off x="11185235" y="2405922"/>
            <a:ext cx="413468" cy="382946"/>
          </a:xfrm>
          <a:prstGeom prst="roundRect">
            <a:avLst/>
          </a:prstGeom>
          <a:noFill/>
          <a:ln w="76200">
            <a:solidFill>
              <a:schemeClr val="accent3"/>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3094928589"/>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3347" y="1506754"/>
            <a:ext cx="7158332" cy="854197"/>
          </a:xfrm>
        </p:spPr>
        <p:txBody>
          <a:bodyPr vert="horz" wrap="square" lIns="146283" tIns="91428" rIns="146283" bIns="91428" numCol="1" rtlCol="0" anchor="t" anchorCtr="0" compatLnSpc="1">
            <a:prstTxWarp prst="textNoShape">
              <a:avLst/>
            </a:prstTxWarp>
            <a:noAutofit/>
          </a:bodyPr>
          <a:lstStyle/>
          <a:p>
            <a:pPr algn="l"/>
            <a:r>
              <a:rPr lang="en-US" sz="4399" dirty="0">
                <a:solidFill>
                  <a:schemeClr val="tx1">
                    <a:lumMod val="75000"/>
                  </a:schemeClr>
                </a:solidFill>
              </a:rPr>
              <a:t>Creating stores in memory</a:t>
            </a:r>
            <a:endParaRPr lang="en-US" sz="4399" dirty="0">
              <a:solidFill>
                <a:srgbClr val="00B050"/>
              </a:solidFill>
            </a:endParaRPr>
          </a:p>
        </p:txBody>
      </p:sp>
      <p:pic>
        <p:nvPicPr>
          <p:cNvPr id="4" name="Picture 3">
            <a:extLst>
              <a:ext uri="{FF2B5EF4-FFF2-40B4-BE49-F238E27FC236}">
                <a16:creationId xmlns:a16="http://schemas.microsoft.com/office/drawing/2014/main" id="{31F87C14-EA68-4869-881B-F12D0328C927}"/>
              </a:ext>
            </a:extLst>
          </p:cNvPr>
          <p:cNvPicPr>
            <a:picLocks noChangeAspect="1"/>
          </p:cNvPicPr>
          <p:nvPr/>
        </p:nvPicPr>
        <p:blipFill>
          <a:blip r:embed="rId4"/>
          <a:stretch>
            <a:fillRect/>
          </a:stretch>
        </p:blipFill>
        <p:spPr>
          <a:xfrm>
            <a:off x="2437077" y="2608288"/>
            <a:ext cx="7286678" cy="3912824"/>
          </a:xfrm>
          <a:prstGeom prst="rect">
            <a:avLst/>
          </a:prstGeom>
        </p:spPr>
      </p:pic>
    </p:spTree>
    <p:custDataLst>
      <p:tags r:id="rId1"/>
    </p:custDataLst>
    <p:extLst>
      <p:ext uri="{BB962C8B-B14F-4D97-AF65-F5344CB8AC3E}">
        <p14:creationId xmlns:p14="http://schemas.microsoft.com/office/powerpoint/2010/main" val="3584448402"/>
      </p:ext>
    </p:extLst>
  </p:cSld>
  <p:clrMapOvr>
    <a:masterClrMapping/>
  </p:clrMapOvr>
  <p:transition spd="slow">
    <p:wip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418260"/>
            <a:ext cx="10955783" cy="854197"/>
          </a:xfrm>
        </p:spPr>
        <p:txBody>
          <a:bodyPr vert="horz" wrap="square" lIns="146283" tIns="91428" rIns="146283" bIns="91428" numCol="1" rtlCol="0" anchor="t" anchorCtr="0" compatLnSpc="1">
            <a:prstTxWarp prst="textNoShape">
              <a:avLst/>
            </a:prstTxWarp>
            <a:noAutofit/>
          </a:bodyPr>
          <a:lstStyle/>
          <a:p>
            <a:pPr algn="l"/>
            <a:r>
              <a:rPr lang="en-US" sz="4399" dirty="0">
                <a:solidFill>
                  <a:schemeClr val="tx1">
                    <a:lumMod val="75000"/>
                  </a:schemeClr>
                </a:solidFill>
              </a:rPr>
              <a:t>API Instantiation and Credentials Management</a:t>
            </a:r>
            <a:endParaRPr lang="en-US" sz="4399" dirty="0">
              <a:solidFill>
                <a:srgbClr val="00B050"/>
              </a:solidFill>
            </a:endParaRPr>
          </a:p>
        </p:txBody>
      </p:sp>
      <p:pic>
        <p:nvPicPr>
          <p:cNvPr id="3" name="Picture 2">
            <a:extLst>
              <a:ext uri="{FF2B5EF4-FFF2-40B4-BE49-F238E27FC236}">
                <a16:creationId xmlns:a16="http://schemas.microsoft.com/office/drawing/2014/main" id="{B846E051-8B54-4559-B601-77D71F514475}"/>
              </a:ext>
            </a:extLst>
          </p:cNvPr>
          <p:cNvPicPr>
            <a:picLocks noChangeAspect="1"/>
          </p:cNvPicPr>
          <p:nvPr/>
        </p:nvPicPr>
        <p:blipFill>
          <a:blip r:embed="rId4"/>
          <a:stretch>
            <a:fillRect/>
          </a:stretch>
        </p:blipFill>
        <p:spPr>
          <a:xfrm>
            <a:off x="175128" y="3497262"/>
            <a:ext cx="12086218" cy="2079003"/>
          </a:xfrm>
          <a:prstGeom prst="rect">
            <a:avLst/>
          </a:prstGeom>
        </p:spPr>
      </p:pic>
    </p:spTree>
    <p:custDataLst>
      <p:tags r:id="rId1"/>
    </p:custDataLst>
    <p:extLst>
      <p:ext uri="{BB962C8B-B14F-4D97-AF65-F5344CB8AC3E}">
        <p14:creationId xmlns:p14="http://schemas.microsoft.com/office/powerpoint/2010/main" val="372688469"/>
      </p:ext>
    </p:extLst>
  </p:cSld>
  <p:clrMapOvr>
    <a:masterClrMapping/>
  </p:clrMapOvr>
  <p:transition spd="slow">
    <p:wip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401823"/>
            <a:ext cx="8373946" cy="786741"/>
          </a:xfrm>
        </p:spPr>
        <p:txBody>
          <a:bodyPr vert="horz" wrap="square" lIns="146283" tIns="91428" rIns="146283" bIns="91428" numCol="1" rtlCol="0" anchor="t" anchorCtr="0" compatLnSpc="1">
            <a:prstTxWarp prst="textNoShape">
              <a:avLst/>
            </a:prstTxWarp>
            <a:noAutofit/>
          </a:bodyPr>
          <a:lstStyle/>
          <a:p>
            <a:pPr algn="l"/>
            <a:r>
              <a:rPr lang="en-US" sz="4399" dirty="0">
                <a:solidFill>
                  <a:schemeClr val="tx1">
                    <a:lumMod val="75000"/>
                  </a:schemeClr>
                </a:solidFill>
              </a:rPr>
              <a:t>Handling Credential Input</a:t>
            </a:r>
            <a:endParaRPr lang="en-US" sz="4399" dirty="0">
              <a:solidFill>
                <a:srgbClr val="00B050"/>
              </a:solidFill>
            </a:endParaRPr>
          </a:p>
        </p:txBody>
      </p:sp>
      <p:pic>
        <p:nvPicPr>
          <p:cNvPr id="4" name="Picture 3">
            <a:extLst>
              <a:ext uri="{FF2B5EF4-FFF2-40B4-BE49-F238E27FC236}">
                <a16:creationId xmlns:a16="http://schemas.microsoft.com/office/drawing/2014/main" id="{6218AC60-BA5C-41B9-8C08-626B77F6D8AA}"/>
              </a:ext>
            </a:extLst>
          </p:cNvPr>
          <p:cNvPicPr>
            <a:picLocks noChangeAspect="1"/>
          </p:cNvPicPr>
          <p:nvPr/>
        </p:nvPicPr>
        <p:blipFill>
          <a:blip r:embed="rId4"/>
          <a:stretch>
            <a:fillRect/>
          </a:stretch>
        </p:blipFill>
        <p:spPr>
          <a:xfrm>
            <a:off x="1227100" y="3088054"/>
            <a:ext cx="9982273" cy="3401980"/>
          </a:xfrm>
          <a:prstGeom prst="rect">
            <a:avLst/>
          </a:prstGeom>
        </p:spPr>
      </p:pic>
    </p:spTree>
    <p:custDataLst>
      <p:tags r:id="rId1"/>
    </p:custDataLst>
    <p:extLst>
      <p:ext uri="{BB962C8B-B14F-4D97-AF65-F5344CB8AC3E}">
        <p14:creationId xmlns:p14="http://schemas.microsoft.com/office/powerpoint/2010/main" val="2505867406"/>
      </p:ext>
    </p:extLst>
  </p:cSld>
  <p:clrMapOvr>
    <a:masterClrMapping/>
  </p:clrMapOvr>
  <p:transition spd="slow">
    <p:wip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p:cNvSpPr txBox="1">
            <a:spLocks/>
          </p:cNvSpPr>
          <p:nvPr/>
        </p:nvSpPr>
        <p:spPr>
          <a:xfrm>
            <a:off x="178599" y="2227345"/>
            <a:ext cx="7514284" cy="3159839"/>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indent="-514350">
              <a:lnSpc>
                <a:spcPct val="100000"/>
              </a:lnSpc>
              <a:spcBef>
                <a:spcPts val="1000"/>
              </a:spcBef>
              <a:buAutoNum type="arabicPeriod"/>
            </a:pPr>
            <a:r>
              <a:rPr lang="en-US" sz="3200" dirty="0">
                <a:solidFill>
                  <a:schemeClr val="tx2"/>
                </a:solidFill>
                <a:latin typeface="Segoe UI Light"/>
              </a:rPr>
              <a:t>Cognitive Services Introduction</a:t>
            </a:r>
          </a:p>
          <a:p>
            <a:pPr marL="514350" indent="-514350">
              <a:lnSpc>
                <a:spcPct val="100000"/>
              </a:lnSpc>
              <a:spcBef>
                <a:spcPts val="1000"/>
              </a:spcBef>
              <a:buAutoNum type="arabicPeriod"/>
            </a:pPr>
            <a:r>
              <a:rPr lang="en-US" sz="3200" dirty="0">
                <a:solidFill>
                  <a:schemeClr val="tx2"/>
                </a:solidFill>
                <a:latin typeface="Segoe UI Light"/>
              </a:rPr>
              <a:t>Custom Vision Overview</a:t>
            </a:r>
          </a:p>
          <a:p>
            <a:pPr marL="514350" indent="-514350">
              <a:lnSpc>
                <a:spcPct val="100000"/>
              </a:lnSpc>
              <a:spcBef>
                <a:spcPts val="1000"/>
              </a:spcBef>
              <a:buAutoNum type="arabicPeriod"/>
            </a:pPr>
            <a:r>
              <a:rPr lang="en-US" sz="3200" dirty="0">
                <a:solidFill>
                  <a:schemeClr val="tx2"/>
                </a:solidFill>
                <a:latin typeface="Segoe UI Light"/>
              </a:rPr>
              <a:t>Custom Vision APIs</a:t>
            </a:r>
          </a:p>
          <a:p>
            <a:pPr marL="514350" indent="-514350">
              <a:lnSpc>
                <a:spcPct val="100000"/>
              </a:lnSpc>
              <a:spcBef>
                <a:spcPts val="1000"/>
              </a:spcBef>
              <a:buAutoNum type="arabicPeriod"/>
            </a:pPr>
            <a:r>
              <a:rPr lang="en-US" sz="3200" dirty="0">
                <a:solidFill>
                  <a:schemeClr val="tx2"/>
                </a:solidFill>
                <a:latin typeface="Segoe UI Light"/>
              </a:rPr>
              <a:t>Creating Custom Vision Solution</a:t>
            </a:r>
          </a:p>
          <a:p>
            <a:pPr marL="514350" indent="-514350">
              <a:lnSpc>
                <a:spcPct val="100000"/>
              </a:lnSpc>
              <a:spcBef>
                <a:spcPts val="1000"/>
              </a:spcBef>
              <a:buAutoNum type="arabicPeriod"/>
            </a:pPr>
            <a:endParaRPr lang="en-US" sz="3200" dirty="0">
              <a:solidFill>
                <a:schemeClr val="tx2"/>
              </a:solidFill>
              <a:latin typeface="Segoe UI Light"/>
            </a:endParaRPr>
          </a:p>
        </p:txBody>
      </p:sp>
      <p:sp>
        <p:nvSpPr>
          <p:cNvPr id="7" name="Title 1"/>
          <p:cNvSpPr txBox="1">
            <a:spLocks/>
          </p:cNvSpPr>
          <p:nvPr/>
        </p:nvSpPr>
        <p:spPr>
          <a:xfrm>
            <a:off x="0" y="1356610"/>
            <a:ext cx="7787812" cy="1583267"/>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2400" b="0" kern="1200" cap="none" spc="-102" baseline="0">
                <a:ln w="3175">
                  <a:noFill/>
                </a:ln>
                <a:gradFill>
                  <a:gsLst>
                    <a:gs pos="7080">
                      <a:schemeClr val="tx1"/>
                    </a:gs>
                    <a:gs pos="26000">
                      <a:schemeClr val="tx1"/>
                    </a:gs>
                  </a:gsLst>
                  <a:lin ang="5400000" scaled="0"/>
                </a:gradFill>
                <a:effectLst/>
                <a:latin typeface="+mj-lt"/>
                <a:ea typeface="+mn-ea"/>
                <a:cs typeface="Segoe UI" pitchFamily="34" charset="0"/>
              </a:defRPr>
            </a:lvl1pPr>
          </a:lstStyle>
          <a:p>
            <a:r>
              <a:rPr lang="en-US" sz="5400" dirty="0">
                <a:solidFill>
                  <a:srgbClr val="005AA1"/>
                </a:solidFill>
              </a:rPr>
              <a:t>Agenda</a:t>
            </a:r>
            <a:endParaRPr sz="4800" dirty="0">
              <a:solidFill>
                <a:srgbClr val="005AA1"/>
              </a:solidFill>
            </a:endParaRPr>
          </a:p>
        </p:txBody>
      </p:sp>
      <p:pic>
        <p:nvPicPr>
          <p:cNvPr id="8" name="Picture 7"/>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7866743" y="-1"/>
            <a:ext cx="4569732" cy="6994525"/>
          </a:xfrm>
          <a:prstGeom prst="rect">
            <a:avLst/>
          </a:prstGeom>
        </p:spPr>
      </p:pic>
    </p:spTree>
    <p:custDataLst>
      <p:tags r:id="rId1"/>
    </p:custDataLst>
    <p:extLst>
      <p:ext uri="{BB962C8B-B14F-4D97-AF65-F5344CB8AC3E}">
        <p14:creationId xmlns:p14="http://schemas.microsoft.com/office/powerpoint/2010/main" val="2677241035"/>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431804"/>
            <a:ext cx="8373946" cy="841146"/>
          </a:xfrm>
        </p:spPr>
        <p:txBody>
          <a:bodyPr vert="horz" wrap="square" lIns="146283" tIns="91428" rIns="146283" bIns="91428" numCol="1" rtlCol="0" anchor="t" anchorCtr="0" compatLnSpc="1">
            <a:prstTxWarp prst="textNoShape">
              <a:avLst/>
            </a:prstTxWarp>
            <a:noAutofit/>
          </a:bodyPr>
          <a:lstStyle/>
          <a:p>
            <a:pPr algn="l"/>
            <a:r>
              <a:rPr lang="en-US" sz="4399" dirty="0">
                <a:solidFill>
                  <a:schemeClr val="tx1">
                    <a:lumMod val="75000"/>
                  </a:schemeClr>
                </a:solidFill>
              </a:rPr>
              <a:t>Loading Images into Memory</a:t>
            </a:r>
            <a:endParaRPr lang="en-US" sz="4399" dirty="0">
              <a:solidFill>
                <a:srgbClr val="00B050"/>
              </a:solidFill>
            </a:endParaRPr>
          </a:p>
        </p:txBody>
      </p:sp>
      <p:pic>
        <p:nvPicPr>
          <p:cNvPr id="3" name="Picture 2">
            <a:extLst>
              <a:ext uri="{FF2B5EF4-FFF2-40B4-BE49-F238E27FC236}">
                <a16:creationId xmlns:a16="http://schemas.microsoft.com/office/drawing/2014/main" id="{C4C0A46C-D052-42CA-91D1-8451FDB00F72}"/>
              </a:ext>
            </a:extLst>
          </p:cNvPr>
          <p:cNvPicPr>
            <a:picLocks noChangeAspect="1"/>
          </p:cNvPicPr>
          <p:nvPr/>
        </p:nvPicPr>
        <p:blipFill>
          <a:blip r:embed="rId4"/>
          <a:stretch>
            <a:fillRect/>
          </a:stretch>
        </p:blipFill>
        <p:spPr>
          <a:xfrm>
            <a:off x="180507" y="2565335"/>
            <a:ext cx="12075459" cy="1571636"/>
          </a:xfrm>
          <a:prstGeom prst="rect">
            <a:avLst/>
          </a:prstGeom>
        </p:spPr>
      </p:pic>
    </p:spTree>
    <p:custDataLst>
      <p:tags r:id="rId1"/>
    </p:custDataLst>
    <p:extLst>
      <p:ext uri="{BB962C8B-B14F-4D97-AF65-F5344CB8AC3E}">
        <p14:creationId xmlns:p14="http://schemas.microsoft.com/office/powerpoint/2010/main" val="724851162"/>
      </p:ext>
    </p:extLst>
  </p:cSld>
  <p:clrMapOvr>
    <a:masterClrMapping/>
  </p:clrMapOvr>
  <p:transition spd="slow">
    <p:wip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9" y="1410541"/>
            <a:ext cx="4892040" cy="4173450"/>
          </a:xfrm>
        </p:spPr>
        <p:txBody>
          <a:bodyPr/>
          <a:lstStyle/>
          <a:p>
            <a:r>
              <a:rPr lang="en-GB" dirty="0"/>
              <a:t>Demo:</a:t>
            </a:r>
            <a:br>
              <a:rPr lang="en-GB" dirty="0"/>
            </a:br>
            <a:r>
              <a:rPr lang="en-GB" dirty="0"/>
              <a:t> </a:t>
            </a:r>
            <a:br>
              <a:rPr lang="en-GB" dirty="0"/>
            </a:br>
            <a:r>
              <a:rPr lang="en-GB" dirty="0"/>
              <a:t>Setting up </a:t>
            </a:r>
            <a:br>
              <a:rPr lang="en-GB" dirty="0"/>
            </a:br>
            <a:r>
              <a:rPr lang="en-GB" dirty="0"/>
              <a:t>Custom Vision</a:t>
            </a:r>
            <a:br>
              <a:rPr lang="en-GB" dirty="0"/>
            </a:br>
            <a:r>
              <a:rPr lang="en-GB" dirty="0"/>
              <a:t>Programmatically</a:t>
            </a:r>
            <a:br>
              <a:rPr lang="en-GB" dirty="0"/>
            </a:br>
            <a:endParaRPr lang="en-US" dirty="0"/>
          </a:p>
        </p:txBody>
      </p:sp>
      <p:sp>
        <p:nvSpPr>
          <p:cNvPr id="5" name="Picture Placeholder 4"/>
          <p:cNvSpPr>
            <a:spLocks noGrp="1"/>
          </p:cNvSpPr>
          <p:nvPr>
            <p:ph type="pic" sz="quarter" idx="10"/>
          </p:nvPr>
        </p:nvSpPr>
        <p:spPr/>
      </p:sp>
    </p:spTree>
    <p:custDataLst>
      <p:tags r:id="rId1"/>
    </p:custDataLst>
    <p:extLst>
      <p:ext uri="{BB962C8B-B14F-4D97-AF65-F5344CB8AC3E}">
        <p14:creationId xmlns:p14="http://schemas.microsoft.com/office/powerpoint/2010/main" val="1347373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266911"/>
            <a:ext cx="8373946" cy="841146"/>
          </a:xfrm>
        </p:spPr>
        <p:txBody>
          <a:bodyPr vert="horz" wrap="square" lIns="146283" tIns="91428" rIns="146283" bIns="91428" numCol="1" rtlCol="0" anchor="t" anchorCtr="0" compatLnSpc="1">
            <a:prstTxWarp prst="textNoShape">
              <a:avLst/>
            </a:prstTxWarp>
            <a:noAutofit/>
          </a:bodyPr>
          <a:lstStyle/>
          <a:p>
            <a:pPr algn="l"/>
            <a:r>
              <a:rPr lang="en-US" sz="4399" dirty="0">
                <a:solidFill>
                  <a:schemeClr val="tx1">
                    <a:lumMod val="75000"/>
                  </a:schemeClr>
                </a:solidFill>
              </a:rPr>
              <a:t>Creating a Project</a:t>
            </a:r>
            <a:endParaRPr lang="en-US" sz="4399" dirty="0">
              <a:solidFill>
                <a:srgbClr val="00B050"/>
              </a:solidFill>
            </a:endParaRPr>
          </a:p>
        </p:txBody>
      </p:sp>
      <p:pic>
        <p:nvPicPr>
          <p:cNvPr id="4" name="Picture 3">
            <a:extLst>
              <a:ext uri="{FF2B5EF4-FFF2-40B4-BE49-F238E27FC236}">
                <a16:creationId xmlns:a16="http://schemas.microsoft.com/office/drawing/2014/main" id="{6C1BB233-4BEC-4E0E-BFEB-4217240B1127}"/>
              </a:ext>
            </a:extLst>
          </p:cNvPr>
          <p:cNvPicPr>
            <a:picLocks noChangeAspect="1"/>
          </p:cNvPicPr>
          <p:nvPr/>
        </p:nvPicPr>
        <p:blipFill>
          <a:blip r:embed="rId4"/>
          <a:stretch>
            <a:fillRect/>
          </a:stretch>
        </p:blipFill>
        <p:spPr>
          <a:xfrm>
            <a:off x="815655" y="2451487"/>
            <a:ext cx="10958593" cy="1676412"/>
          </a:xfrm>
          <a:prstGeom prst="rect">
            <a:avLst/>
          </a:prstGeom>
        </p:spPr>
      </p:pic>
    </p:spTree>
    <p:custDataLst>
      <p:tags r:id="rId1"/>
    </p:custDataLst>
    <p:extLst>
      <p:ext uri="{BB962C8B-B14F-4D97-AF65-F5344CB8AC3E}">
        <p14:creationId xmlns:p14="http://schemas.microsoft.com/office/powerpoint/2010/main" val="2986930635"/>
      </p:ext>
    </p:extLst>
  </p:cSld>
  <p:clrMapOvr>
    <a:masterClrMapping/>
  </p:clrMapOvr>
  <p:transition spd="slow">
    <p:wip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145706"/>
            <a:ext cx="8373946" cy="841146"/>
          </a:xfrm>
        </p:spPr>
        <p:txBody>
          <a:bodyPr vert="horz" wrap="square" lIns="146283" tIns="91428" rIns="146283" bIns="91428" numCol="1" rtlCol="0" anchor="t" anchorCtr="0" compatLnSpc="1">
            <a:prstTxWarp prst="textNoShape">
              <a:avLst/>
            </a:prstTxWarp>
            <a:noAutofit/>
          </a:bodyPr>
          <a:lstStyle/>
          <a:p>
            <a:pPr algn="l"/>
            <a:r>
              <a:rPr lang="en-US" sz="4399" dirty="0">
                <a:solidFill>
                  <a:schemeClr val="tx1">
                    <a:lumMod val="75000"/>
                  </a:schemeClr>
                </a:solidFill>
              </a:rPr>
              <a:t>Managing Tagging</a:t>
            </a:r>
            <a:endParaRPr lang="en-US" sz="4399" dirty="0">
              <a:solidFill>
                <a:srgbClr val="00B050"/>
              </a:solidFill>
            </a:endParaRPr>
          </a:p>
        </p:txBody>
      </p:sp>
      <p:pic>
        <p:nvPicPr>
          <p:cNvPr id="3" name="Picture 2">
            <a:extLst>
              <a:ext uri="{FF2B5EF4-FFF2-40B4-BE49-F238E27FC236}">
                <a16:creationId xmlns:a16="http://schemas.microsoft.com/office/drawing/2014/main" id="{2FC898AA-1F80-4A27-A5D3-0241BD00D238}"/>
              </a:ext>
            </a:extLst>
          </p:cNvPr>
          <p:cNvPicPr>
            <a:picLocks noChangeAspect="1"/>
          </p:cNvPicPr>
          <p:nvPr/>
        </p:nvPicPr>
        <p:blipFill>
          <a:blip r:embed="rId4"/>
          <a:stretch>
            <a:fillRect/>
          </a:stretch>
        </p:blipFill>
        <p:spPr>
          <a:xfrm>
            <a:off x="286500" y="2085170"/>
            <a:ext cx="11863474" cy="2824183"/>
          </a:xfrm>
          <a:prstGeom prst="rect">
            <a:avLst/>
          </a:prstGeom>
        </p:spPr>
      </p:pic>
      <p:pic>
        <p:nvPicPr>
          <p:cNvPr id="4" name="Picture 3">
            <a:extLst>
              <a:ext uri="{FF2B5EF4-FFF2-40B4-BE49-F238E27FC236}">
                <a16:creationId xmlns:a16="http://schemas.microsoft.com/office/drawing/2014/main" id="{39587B65-687F-4807-8026-DECB2D27C395}"/>
              </a:ext>
            </a:extLst>
          </p:cNvPr>
          <p:cNvPicPr>
            <a:picLocks noChangeAspect="1"/>
          </p:cNvPicPr>
          <p:nvPr/>
        </p:nvPicPr>
        <p:blipFill>
          <a:blip r:embed="rId5"/>
          <a:stretch>
            <a:fillRect/>
          </a:stretch>
        </p:blipFill>
        <p:spPr>
          <a:xfrm>
            <a:off x="286500" y="5105990"/>
            <a:ext cx="11863474" cy="1571636"/>
          </a:xfrm>
          <a:prstGeom prst="rect">
            <a:avLst/>
          </a:prstGeom>
        </p:spPr>
      </p:pic>
    </p:spTree>
    <p:custDataLst>
      <p:tags r:id="rId1"/>
    </p:custDataLst>
    <p:extLst>
      <p:ext uri="{BB962C8B-B14F-4D97-AF65-F5344CB8AC3E}">
        <p14:creationId xmlns:p14="http://schemas.microsoft.com/office/powerpoint/2010/main" val="3624761349"/>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117009"/>
            <a:ext cx="8373946" cy="841146"/>
          </a:xfrm>
        </p:spPr>
        <p:txBody>
          <a:bodyPr vert="horz" wrap="square" lIns="146283" tIns="91428" rIns="146283" bIns="91428" numCol="1" rtlCol="0" anchor="t" anchorCtr="0" compatLnSpc="1">
            <a:prstTxWarp prst="textNoShape">
              <a:avLst/>
            </a:prstTxWarp>
            <a:noAutofit/>
          </a:bodyPr>
          <a:lstStyle/>
          <a:p>
            <a:pPr algn="l"/>
            <a:r>
              <a:rPr lang="en-US" sz="4399" dirty="0">
                <a:solidFill>
                  <a:schemeClr val="tx1">
                    <a:lumMod val="75000"/>
                  </a:schemeClr>
                </a:solidFill>
              </a:rPr>
              <a:t>Uploading Images</a:t>
            </a:r>
            <a:endParaRPr lang="en-US" sz="4399" dirty="0">
              <a:solidFill>
                <a:srgbClr val="00B050"/>
              </a:solidFill>
            </a:endParaRPr>
          </a:p>
        </p:txBody>
      </p:sp>
      <p:pic>
        <p:nvPicPr>
          <p:cNvPr id="3" name="Picture 2">
            <a:extLst>
              <a:ext uri="{FF2B5EF4-FFF2-40B4-BE49-F238E27FC236}">
                <a16:creationId xmlns:a16="http://schemas.microsoft.com/office/drawing/2014/main" id="{CB1817DE-98B3-43F7-98DF-9E9C13FE6DD3}"/>
              </a:ext>
            </a:extLst>
          </p:cNvPr>
          <p:cNvPicPr>
            <a:picLocks noChangeAspect="1"/>
          </p:cNvPicPr>
          <p:nvPr/>
        </p:nvPicPr>
        <p:blipFill>
          <a:blip r:embed="rId4"/>
          <a:stretch>
            <a:fillRect/>
          </a:stretch>
        </p:blipFill>
        <p:spPr>
          <a:xfrm>
            <a:off x="24560" y="2176834"/>
            <a:ext cx="12387353" cy="2352692"/>
          </a:xfrm>
          <a:prstGeom prst="rect">
            <a:avLst/>
          </a:prstGeom>
        </p:spPr>
      </p:pic>
    </p:spTree>
    <p:custDataLst>
      <p:tags r:id="rId1"/>
    </p:custDataLst>
    <p:extLst>
      <p:ext uri="{BB962C8B-B14F-4D97-AF65-F5344CB8AC3E}">
        <p14:creationId xmlns:p14="http://schemas.microsoft.com/office/powerpoint/2010/main" val="1786064520"/>
      </p:ext>
    </p:extLst>
  </p:cSld>
  <p:clrMapOvr>
    <a:masterClrMapping/>
  </p:clrMapOvr>
  <p:transition spd="slow">
    <p:wip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1078142"/>
            <a:ext cx="5028881" cy="4838248"/>
          </a:xfrm>
        </p:spPr>
        <p:txBody>
          <a:bodyPr/>
          <a:lstStyle/>
          <a:p>
            <a:r>
              <a:rPr lang="en-GB" dirty="0"/>
              <a:t>Demo:</a:t>
            </a:r>
            <a:br>
              <a:rPr lang="en-GB" dirty="0"/>
            </a:br>
            <a:r>
              <a:rPr lang="en-GB" dirty="0"/>
              <a:t> </a:t>
            </a:r>
            <a:br>
              <a:rPr lang="en-GB" dirty="0"/>
            </a:br>
            <a:r>
              <a:rPr lang="en-GB" dirty="0"/>
              <a:t>Creating </a:t>
            </a:r>
            <a:br>
              <a:rPr lang="en-GB" dirty="0"/>
            </a:br>
            <a:r>
              <a:rPr lang="en-GB" dirty="0"/>
              <a:t>Custom Vision</a:t>
            </a:r>
            <a:br>
              <a:rPr lang="en-GB" dirty="0"/>
            </a:br>
            <a:r>
              <a:rPr lang="en-GB" dirty="0"/>
              <a:t>Projects and Image</a:t>
            </a:r>
            <a:br>
              <a:rPr lang="en-GB" dirty="0"/>
            </a:br>
            <a:r>
              <a:rPr lang="en-GB" dirty="0"/>
              <a:t>Management</a:t>
            </a:r>
            <a:br>
              <a:rPr lang="en-GB" dirty="0"/>
            </a:br>
            <a:endParaRPr lang="en-US" dirty="0"/>
          </a:p>
        </p:txBody>
      </p:sp>
      <p:sp>
        <p:nvSpPr>
          <p:cNvPr id="5" name="Picture Placeholder 4"/>
          <p:cNvSpPr>
            <a:spLocks noGrp="1"/>
          </p:cNvSpPr>
          <p:nvPr>
            <p:ph type="pic" sz="quarter" idx="10"/>
          </p:nvPr>
        </p:nvSpPr>
        <p:spPr/>
      </p:sp>
    </p:spTree>
    <p:custDataLst>
      <p:tags r:id="rId1"/>
    </p:custDataLst>
    <p:extLst>
      <p:ext uri="{BB962C8B-B14F-4D97-AF65-F5344CB8AC3E}">
        <p14:creationId xmlns:p14="http://schemas.microsoft.com/office/powerpoint/2010/main" val="15215391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236931"/>
            <a:ext cx="8373946" cy="841146"/>
          </a:xfrm>
        </p:spPr>
        <p:txBody>
          <a:bodyPr vert="horz" wrap="square" lIns="146283" tIns="91428" rIns="146283" bIns="91428" numCol="1" rtlCol="0" anchor="t" anchorCtr="0" compatLnSpc="1">
            <a:prstTxWarp prst="textNoShape">
              <a:avLst/>
            </a:prstTxWarp>
            <a:noAutofit/>
          </a:bodyPr>
          <a:lstStyle/>
          <a:p>
            <a:pPr algn="l"/>
            <a:r>
              <a:rPr lang="en-US" sz="4399" dirty="0">
                <a:solidFill>
                  <a:schemeClr val="tx1">
                    <a:lumMod val="75000"/>
                  </a:schemeClr>
                </a:solidFill>
              </a:rPr>
              <a:t>Training the model</a:t>
            </a:r>
            <a:endParaRPr lang="en-US" sz="4399" dirty="0">
              <a:solidFill>
                <a:srgbClr val="00B050"/>
              </a:solidFill>
            </a:endParaRPr>
          </a:p>
        </p:txBody>
      </p:sp>
      <p:pic>
        <p:nvPicPr>
          <p:cNvPr id="3" name="Picture 2">
            <a:extLst>
              <a:ext uri="{FF2B5EF4-FFF2-40B4-BE49-F238E27FC236}">
                <a16:creationId xmlns:a16="http://schemas.microsoft.com/office/drawing/2014/main" id="{659543A7-786F-4A66-B6DE-DCC927C35904}"/>
              </a:ext>
            </a:extLst>
          </p:cNvPr>
          <p:cNvPicPr>
            <a:picLocks noChangeAspect="1"/>
          </p:cNvPicPr>
          <p:nvPr/>
        </p:nvPicPr>
        <p:blipFill>
          <a:blip r:embed="rId4"/>
          <a:stretch>
            <a:fillRect/>
          </a:stretch>
        </p:blipFill>
        <p:spPr>
          <a:xfrm>
            <a:off x="205537" y="2295496"/>
            <a:ext cx="12025400" cy="4367244"/>
          </a:xfrm>
          <a:prstGeom prst="rect">
            <a:avLst/>
          </a:prstGeom>
        </p:spPr>
      </p:pic>
    </p:spTree>
    <p:custDataLst>
      <p:tags r:id="rId1"/>
    </p:custDataLst>
    <p:extLst>
      <p:ext uri="{BB962C8B-B14F-4D97-AF65-F5344CB8AC3E}">
        <p14:creationId xmlns:p14="http://schemas.microsoft.com/office/powerpoint/2010/main" val="3351737416"/>
      </p:ext>
    </p:extLst>
  </p:cSld>
  <p:clrMapOvr>
    <a:masterClrMapping/>
  </p:clrMapOvr>
  <p:transition spd="slow">
    <p:wip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937128"/>
            <a:ext cx="8373946" cy="841146"/>
          </a:xfrm>
        </p:spPr>
        <p:txBody>
          <a:bodyPr vert="horz" wrap="square" lIns="146283" tIns="91428" rIns="146283" bIns="91428" numCol="1" rtlCol="0" anchor="t" anchorCtr="0" compatLnSpc="1">
            <a:prstTxWarp prst="textNoShape">
              <a:avLst/>
            </a:prstTxWarp>
            <a:noAutofit/>
          </a:bodyPr>
          <a:lstStyle/>
          <a:p>
            <a:pPr algn="l"/>
            <a:r>
              <a:rPr lang="en-US" sz="4399" dirty="0">
                <a:solidFill>
                  <a:schemeClr val="tx1">
                    <a:lumMod val="75000"/>
                  </a:schemeClr>
                </a:solidFill>
              </a:rPr>
              <a:t>Making Predictions</a:t>
            </a:r>
            <a:endParaRPr lang="en-US" sz="4399" dirty="0">
              <a:solidFill>
                <a:srgbClr val="00B050"/>
              </a:solidFill>
            </a:endParaRPr>
          </a:p>
        </p:txBody>
      </p:sp>
      <p:pic>
        <p:nvPicPr>
          <p:cNvPr id="3" name="Picture 2">
            <a:extLst>
              <a:ext uri="{FF2B5EF4-FFF2-40B4-BE49-F238E27FC236}">
                <a16:creationId xmlns:a16="http://schemas.microsoft.com/office/drawing/2014/main" id="{695C75F4-C5D8-411A-A565-07223E1B31E3}"/>
              </a:ext>
            </a:extLst>
          </p:cNvPr>
          <p:cNvPicPr>
            <a:picLocks noChangeAspect="1"/>
          </p:cNvPicPr>
          <p:nvPr/>
        </p:nvPicPr>
        <p:blipFill>
          <a:blip r:embed="rId4"/>
          <a:stretch>
            <a:fillRect/>
          </a:stretch>
        </p:blipFill>
        <p:spPr>
          <a:xfrm>
            <a:off x="0" y="1925208"/>
            <a:ext cx="12436475" cy="5069317"/>
          </a:xfrm>
          <a:prstGeom prst="rect">
            <a:avLst/>
          </a:prstGeom>
        </p:spPr>
      </p:pic>
    </p:spTree>
    <p:custDataLst>
      <p:tags r:id="rId1"/>
    </p:custDataLst>
    <p:extLst>
      <p:ext uri="{BB962C8B-B14F-4D97-AF65-F5344CB8AC3E}">
        <p14:creationId xmlns:p14="http://schemas.microsoft.com/office/powerpoint/2010/main" val="2689935080"/>
      </p:ext>
    </p:extLst>
  </p:cSld>
  <p:clrMapOvr>
    <a:masterClrMapping/>
  </p:clrMapOvr>
  <p:transition spd="slow">
    <p:wip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745744"/>
            <a:ext cx="5028881" cy="5503045"/>
          </a:xfrm>
        </p:spPr>
        <p:txBody>
          <a:bodyPr/>
          <a:lstStyle/>
          <a:p>
            <a:r>
              <a:rPr lang="en-GB" dirty="0"/>
              <a:t>Demo:</a:t>
            </a:r>
            <a:br>
              <a:rPr lang="en-GB" dirty="0"/>
            </a:br>
            <a:r>
              <a:rPr lang="en-GB" dirty="0"/>
              <a:t> </a:t>
            </a:r>
            <a:br>
              <a:rPr lang="en-GB" dirty="0"/>
            </a:br>
            <a:r>
              <a:rPr lang="en-GB" dirty="0"/>
              <a:t>Training and </a:t>
            </a:r>
            <a:br>
              <a:rPr lang="en-GB" dirty="0"/>
            </a:br>
            <a:r>
              <a:rPr lang="en-GB" dirty="0"/>
              <a:t>Predicting a</a:t>
            </a:r>
            <a:br>
              <a:rPr lang="en-GB" dirty="0"/>
            </a:br>
            <a:r>
              <a:rPr lang="en-GB" dirty="0"/>
              <a:t>Custom Vision Model</a:t>
            </a:r>
            <a:br>
              <a:rPr lang="en-GB" dirty="0"/>
            </a:br>
            <a:br>
              <a:rPr lang="en-GB" dirty="0"/>
            </a:br>
            <a:endParaRPr lang="en-US" dirty="0"/>
          </a:p>
        </p:txBody>
      </p:sp>
      <p:sp>
        <p:nvSpPr>
          <p:cNvPr id="5" name="Picture Placeholder 4"/>
          <p:cNvSpPr>
            <a:spLocks noGrp="1"/>
          </p:cNvSpPr>
          <p:nvPr>
            <p:ph type="pic" sz="quarter" idx="10"/>
          </p:nvPr>
        </p:nvSpPr>
        <p:spPr/>
      </p:sp>
    </p:spTree>
    <p:custDataLst>
      <p:tags r:id="rId1"/>
    </p:custDataLst>
    <p:extLst>
      <p:ext uri="{BB962C8B-B14F-4D97-AF65-F5344CB8AC3E}">
        <p14:creationId xmlns:p14="http://schemas.microsoft.com/office/powerpoint/2010/main" val="10959644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937128"/>
            <a:ext cx="8373946" cy="841146"/>
          </a:xfrm>
        </p:spPr>
        <p:txBody>
          <a:bodyPr vert="horz" wrap="square" lIns="146283" tIns="91428" rIns="146283" bIns="91428" numCol="1" rtlCol="0" anchor="t" anchorCtr="0" compatLnSpc="1">
            <a:prstTxWarp prst="textNoShape">
              <a:avLst/>
            </a:prstTxWarp>
            <a:noAutofit/>
          </a:bodyPr>
          <a:lstStyle/>
          <a:p>
            <a:pPr algn="l"/>
            <a:r>
              <a:rPr lang="en-US" sz="4399" dirty="0">
                <a:solidFill>
                  <a:schemeClr val="tx1">
                    <a:lumMod val="75000"/>
                  </a:schemeClr>
                </a:solidFill>
              </a:rPr>
              <a:t>Performing Object Detection</a:t>
            </a:r>
            <a:endParaRPr lang="en-US" sz="4399" dirty="0">
              <a:solidFill>
                <a:srgbClr val="00B050"/>
              </a:solidFill>
            </a:endParaRPr>
          </a:p>
        </p:txBody>
      </p:sp>
      <p:pic>
        <p:nvPicPr>
          <p:cNvPr id="4" name="Picture 3">
            <a:extLst>
              <a:ext uri="{FF2B5EF4-FFF2-40B4-BE49-F238E27FC236}">
                <a16:creationId xmlns:a16="http://schemas.microsoft.com/office/drawing/2014/main" id="{EC55BE87-5E05-46BF-81FD-EC99673FC2D6}"/>
              </a:ext>
            </a:extLst>
          </p:cNvPr>
          <p:cNvPicPr>
            <a:picLocks noChangeAspect="1"/>
          </p:cNvPicPr>
          <p:nvPr/>
        </p:nvPicPr>
        <p:blipFill rotWithShape="1">
          <a:blip r:embed="rId4"/>
          <a:srcRect r="15197"/>
          <a:stretch/>
        </p:blipFill>
        <p:spPr>
          <a:xfrm>
            <a:off x="484030" y="1926686"/>
            <a:ext cx="9204379" cy="1357322"/>
          </a:xfrm>
          <a:prstGeom prst="rect">
            <a:avLst/>
          </a:prstGeom>
        </p:spPr>
      </p:pic>
      <p:pic>
        <p:nvPicPr>
          <p:cNvPr id="5" name="Picture 4">
            <a:extLst>
              <a:ext uri="{FF2B5EF4-FFF2-40B4-BE49-F238E27FC236}">
                <a16:creationId xmlns:a16="http://schemas.microsoft.com/office/drawing/2014/main" id="{EE7ACA44-D089-4AC8-94A9-8FBC7E2F15B1}"/>
              </a:ext>
            </a:extLst>
          </p:cNvPr>
          <p:cNvPicPr>
            <a:picLocks noChangeAspect="1"/>
          </p:cNvPicPr>
          <p:nvPr/>
        </p:nvPicPr>
        <p:blipFill>
          <a:blip r:embed="rId5"/>
          <a:stretch>
            <a:fillRect/>
          </a:stretch>
        </p:blipFill>
        <p:spPr>
          <a:xfrm>
            <a:off x="484030" y="3432420"/>
            <a:ext cx="9204379" cy="3381530"/>
          </a:xfrm>
          <a:prstGeom prst="rect">
            <a:avLst/>
          </a:prstGeom>
        </p:spPr>
      </p:pic>
    </p:spTree>
    <p:custDataLst>
      <p:tags r:id="rId1"/>
    </p:custDataLst>
    <p:extLst>
      <p:ext uri="{BB962C8B-B14F-4D97-AF65-F5344CB8AC3E}">
        <p14:creationId xmlns:p14="http://schemas.microsoft.com/office/powerpoint/2010/main" val="2472207108"/>
      </p:ext>
    </p:extLst>
  </p:cSld>
  <p:clrMapOvr>
    <a:masterClrMapping/>
  </p:clrMapOvr>
  <p:transition spd="slow">
    <p:wip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74638" y="2125662"/>
            <a:ext cx="11887200" cy="1098762"/>
          </a:xfrm>
        </p:spPr>
        <p:txBody>
          <a:bodyPr/>
          <a:lstStyle/>
          <a:p>
            <a:r>
              <a:rPr lang="en-GB" sz="6600" dirty="0"/>
              <a:t>Cognitive Services Introduction</a:t>
            </a:r>
          </a:p>
        </p:txBody>
      </p:sp>
    </p:spTree>
    <p:custDataLst>
      <p:tags r:id="rId1"/>
    </p:custDataLst>
    <p:extLst>
      <p:ext uri="{BB962C8B-B14F-4D97-AF65-F5344CB8AC3E}">
        <p14:creationId xmlns:p14="http://schemas.microsoft.com/office/powerpoint/2010/main" val="3981331727"/>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Box 3"/>
          <p:cNvSpPr txBox="1">
            <a:spLocks noChangeArrowheads="1"/>
          </p:cNvSpPr>
          <p:nvPr/>
        </p:nvSpPr>
        <p:spPr bwMode="blackWhite">
          <a:xfrm>
            <a:off x="275482" y="5920919"/>
            <a:ext cx="11854721"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marL="0" marR="0" lvl="0" indent="0" algn="l" defTabSz="932111"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05050"/>
                </a:solidFill>
                <a:effectLst/>
                <a:uLnTx/>
                <a:uFillTx/>
                <a:latin typeface="Segoe UI"/>
                <a:ea typeface="+mn-ea"/>
                <a:cs typeface="Segoe UI" pitchFamily="34" charset="0"/>
              </a:rPr>
              <a:t>© 2018 Microsoft Corporation. All rights reserved. </a:t>
            </a:r>
          </a:p>
        </p:txBody>
      </p:sp>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invGray">
          <a:xfrm>
            <a:off x="468803" y="3207443"/>
            <a:ext cx="3354781" cy="7188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Box 1">
            <a:extLst>
              <a:ext uri="{FF2B5EF4-FFF2-40B4-BE49-F238E27FC236}">
                <a16:creationId xmlns:a16="http://schemas.microsoft.com/office/drawing/2014/main" id="{D529E5A2-5CA4-47C8-AE3C-4F2F87EFB220}"/>
              </a:ext>
            </a:extLst>
          </p:cNvPr>
          <p:cNvSpPr txBox="1"/>
          <p:nvPr/>
        </p:nvSpPr>
        <p:spPr>
          <a:xfrm>
            <a:off x="4193572" y="109898"/>
            <a:ext cx="8492004" cy="1557349"/>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dirty="0">
                <a:ln>
                  <a:noFill/>
                </a:ln>
                <a:solidFill>
                  <a:srgbClr val="002050"/>
                </a:solidFill>
                <a:effectLst/>
                <a:uLnTx/>
                <a:uFillTx/>
                <a:latin typeface="Segoe UI"/>
                <a:ea typeface="+mn-ea"/>
                <a:cs typeface="+mn-cs"/>
              </a:rPr>
              <a:t>Try out labs on all of these technologies at</a:t>
            </a:r>
          </a:p>
          <a:p>
            <a:pPr marL="0" marR="0" lvl="0" indent="0" algn="l" defTabSz="932742" rtl="0" eaLnBrk="1" fontAlgn="auto" latinLnBrk="0" hangingPunct="1">
              <a:lnSpc>
                <a:spcPct val="90000"/>
              </a:lnSpc>
              <a:spcBef>
                <a:spcPts val="0"/>
              </a:spcBef>
              <a:spcAft>
                <a:spcPts val="600"/>
              </a:spcAft>
              <a:buClrTx/>
              <a:buSzTx/>
              <a:buFontTx/>
              <a:buNone/>
              <a:tabLst/>
              <a:defRPr/>
            </a:pPr>
            <a:endParaRPr kumimoji="0" lang="en-GB" sz="2400" b="0" i="0" u="none" strike="noStrike" kern="1200" cap="none" spc="0" normalizeH="0" baseline="0" noProof="0" dirty="0">
              <a:ln>
                <a:noFill/>
              </a:ln>
              <a:solidFill>
                <a:srgbClr val="002050"/>
              </a:solidFill>
              <a:effectLst/>
              <a:uLnTx/>
              <a:uFillTx/>
              <a:latin typeface="Segoe UI"/>
              <a:ea typeface="+mn-ea"/>
              <a:cs typeface="+mn-cs"/>
            </a:endParaRP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GB" sz="3200" b="0" i="0" u="none" strike="noStrike" kern="1200" cap="none" spc="0" normalizeH="0" baseline="0" noProof="0" dirty="0">
                <a:ln>
                  <a:noFill/>
                </a:ln>
                <a:solidFill>
                  <a:srgbClr val="002050"/>
                </a:solidFill>
                <a:effectLst/>
                <a:uLnTx/>
                <a:uFillTx/>
                <a:latin typeface="Segoe UI"/>
                <a:ea typeface="+mn-ea"/>
                <a:cs typeface="+mn-cs"/>
              </a:rPr>
              <a:t>https://azure.github.io/LearnAI-Bootcamp/</a:t>
            </a:r>
            <a:endParaRPr kumimoji="0" lang="en-GB" sz="2400" b="0" i="0" u="none" strike="noStrike" kern="1200" cap="none" spc="0" normalizeH="0" baseline="0" noProof="0" dirty="0">
              <a:ln>
                <a:noFill/>
              </a:ln>
              <a:solidFill>
                <a:srgbClr val="002050"/>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7C7F41D5-B9BD-494E-B175-AB9363FAD58D}"/>
              </a:ext>
            </a:extLst>
          </p:cNvPr>
          <p:cNvPicPr>
            <a:picLocks noChangeAspect="1"/>
          </p:cNvPicPr>
          <p:nvPr/>
        </p:nvPicPr>
        <p:blipFill>
          <a:blip r:embed="rId5"/>
          <a:stretch>
            <a:fillRect/>
          </a:stretch>
        </p:blipFill>
        <p:spPr>
          <a:xfrm>
            <a:off x="4391328" y="1717636"/>
            <a:ext cx="8048684" cy="5276889"/>
          </a:xfrm>
          <a:prstGeom prst="rect">
            <a:avLst/>
          </a:prstGeom>
        </p:spPr>
      </p:pic>
    </p:spTree>
    <p:custDataLst>
      <p:tags r:id="rId1"/>
    </p:custDataLst>
    <p:extLst>
      <p:ext uri="{BB962C8B-B14F-4D97-AF65-F5344CB8AC3E}">
        <p14:creationId xmlns:p14="http://schemas.microsoft.com/office/powerpoint/2010/main" val="1158893668"/>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rotWithShape="1">
          <a:blip r:embed="rId4" cstate="print">
            <a:extLst>
              <a:ext uri="{28A0092B-C50C-407E-A947-70E740481C1C}">
                <a14:useLocalDpi xmlns:a14="http://schemas.microsoft.com/office/drawing/2010/main" val="0"/>
              </a:ext>
            </a:extLst>
          </a:blip>
          <a:srcRect/>
          <a:stretch/>
        </p:blipFill>
        <p:spPr>
          <a:xfrm>
            <a:off x="882" y="-1"/>
            <a:ext cx="12868409" cy="6994525"/>
          </a:xfrm>
          <a:prstGeom prst="rect">
            <a:avLst/>
          </a:prstGeom>
          <a:noFill/>
          <a:ln>
            <a:noFill/>
          </a:ln>
        </p:spPr>
      </p:pic>
      <p:sp>
        <p:nvSpPr>
          <p:cNvPr id="7" name="Rectangle 6"/>
          <p:cNvSpPr/>
          <p:nvPr/>
        </p:nvSpPr>
        <p:spPr bwMode="ltGray">
          <a:xfrm>
            <a:off x="264724" y="297302"/>
            <a:ext cx="5485622" cy="638914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latin typeface="Segoe UI"/>
              <a:ea typeface="Segoe UI" pitchFamily="34" charset="0"/>
              <a:cs typeface="Segoe UI" pitchFamily="34" charset="0"/>
            </a:endParaRPr>
          </a:p>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latin typeface="Segoe UI"/>
                <a:ea typeface="Segoe UI" pitchFamily="34" charset="0"/>
                <a:cs typeface="Segoe UI" pitchFamily="34" charset="0"/>
              </a:rPr>
              <a:t>Modifying a Custom Vision Solution</a:t>
            </a:r>
          </a:p>
        </p:txBody>
      </p:sp>
      <p:sp>
        <p:nvSpPr>
          <p:cNvPr id="17" name="Title 16"/>
          <p:cNvSpPr>
            <a:spLocks noGrp="1"/>
          </p:cNvSpPr>
          <p:nvPr>
            <p:ph type="title"/>
          </p:nvPr>
        </p:nvSpPr>
        <p:spPr/>
        <p:txBody>
          <a:bodyPr>
            <a:normAutofit fontScale="90000"/>
          </a:bodyPr>
          <a:lstStyle/>
          <a:p>
            <a:r>
              <a:rPr lang="en-US" dirty="0"/>
              <a:t>Lab 2:</a:t>
            </a:r>
          </a:p>
        </p:txBody>
      </p:sp>
      <p:pic>
        <p:nvPicPr>
          <p:cNvPr id="11" name="Picture 10"/>
          <p:cNvPicPr>
            <a:picLocks noChangeAspect="1"/>
          </p:cNvPicPr>
          <p:nvPr/>
        </p:nvPicPr>
        <p:blipFill rotWithShape="1">
          <a:blip r:embed="rId5"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Tree>
    <p:custDataLst>
      <p:tags r:id="rId1"/>
    </p:custDataLst>
    <p:extLst>
      <p:ext uri="{BB962C8B-B14F-4D97-AF65-F5344CB8AC3E}">
        <p14:creationId xmlns:p14="http://schemas.microsoft.com/office/powerpoint/2010/main" val="794839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rotWithShape="1">
          <a:blip r:embed="rId4" cstate="print">
            <a:extLst>
              <a:ext uri="{28A0092B-C50C-407E-A947-70E740481C1C}">
                <a14:useLocalDpi xmlns:a14="http://schemas.microsoft.com/office/drawing/2010/main" val="0"/>
              </a:ext>
            </a:extLst>
          </a:blip>
          <a:srcRect/>
          <a:stretch/>
        </p:blipFill>
        <p:spPr>
          <a:xfrm>
            <a:off x="882" y="-1"/>
            <a:ext cx="12868409" cy="6994525"/>
          </a:xfrm>
          <a:prstGeom prst="rect">
            <a:avLst/>
          </a:prstGeom>
          <a:noFill/>
          <a:ln>
            <a:noFill/>
          </a:ln>
        </p:spPr>
      </p:pic>
      <p:sp>
        <p:nvSpPr>
          <p:cNvPr id="7" name="Rectangle 6"/>
          <p:cNvSpPr/>
          <p:nvPr/>
        </p:nvSpPr>
        <p:spPr bwMode="ltGray">
          <a:xfrm>
            <a:off x="264724" y="297302"/>
            <a:ext cx="5485622" cy="638914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latin typeface="Segoe UI"/>
              <a:ea typeface="Segoe UI" pitchFamily="34" charset="0"/>
              <a:cs typeface="Segoe UI" pitchFamily="34" charset="0"/>
            </a:endParaRPr>
          </a:p>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latin typeface="Segoe UI"/>
                <a:ea typeface="Segoe UI" pitchFamily="34" charset="0"/>
                <a:cs typeface="Segoe UI" pitchFamily="34" charset="0"/>
              </a:rPr>
              <a:t>(if time permits)</a:t>
            </a:r>
          </a:p>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latin typeface="Segoe UI"/>
                <a:ea typeface="Segoe UI" pitchFamily="34" charset="0"/>
                <a:cs typeface="Segoe UI" pitchFamily="34" charset="0"/>
              </a:rPr>
              <a:t>Modifying a Custom Vision Solution</a:t>
            </a:r>
          </a:p>
        </p:txBody>
      </p:sp>
      <p:sp>
        <p:nvSpPr>
          <p:cNvPr id="17" name="Title 16"/>
          <p:cNvSpPr>
            <a:spLocks noGrp="1"/>
          </p:cNvSpPr>
          <p:nvPr>
            <p:ph type="title"/>
          </p:nvPr>
        </p:nvSpPr>
        <p:spPr/>
        <p:txBody>
          <a:bodyPr>
            <a:normAutofit fontScale="90000"/>
          </a:bodyPr>
          <a:lstStyle/>
          <a:p>
            <a:r>
              <a:rPr lang="en-US" dirty="0"/>
              <a:t>Lab 3:</a:t>
            </a:r>
          </a:p>
        </p:txBody>
      </p:sp>
      <p:pic>
        <p:nvPicPr>
          <p:cNvPr id="11" name="Picture 10"/>
          <p:cNvPicPr>
            <a:picLocks noChangeAspect="1"/>
          </p:cNvPicPr>
          <p:nvPr/>
        </p:nvPicPr>
        <p:blipFill rotWithShape="1">
          <a:blip r:embed="rId5"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Tree>
    <p:custDataLst>
      <p:tags r:id="rId1"/>
    </p:custDataLst>
    <p:extLst>
      <p:ext uri="{BB962C8B-B14F-4D97-AF65-F5344CB8AC3E}">
        <p14:creationId xmlns:p14="http://schemas.microsoft.com/office/powerpoint/2010/main" val="1478582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74638" y="2125662"/>
            <a:ext cx="11887200" cy="1181862"/>
          </a:xfrm>
        </p:spPr>
        <p:txBody>
          <a:bodyPr/>
          <a:lstStyle/>
          <a:p>
            <a:r>
              <a:rPr lang="en-GB" dirty="0"/>
              <a:t>Conclusion</a:t>
            </a:r>
          </a:p>
        </p:txBody>
      </p:sp>
    </p:spTree>
    <p:custDataLst>
      <p:tags r:id="rId1"/>
    </p:custDataLst>
    <p:extLst>
      <p:ext uri="{BB962C8B-B14F-4D97-AF65-F5344CB8AC3E}">
        <p14:creationId xmlns:p14="http://schemas.microsoft.com/office/powerpoint/2010/main" val="2499713564"/>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4" cstate="screen">
            <a:grayscl/>
            <a:extLst>
              <a:ext uri="{28A0092B-C50C-407E-A947-70E740481C1C}">
                <a14:useLocalDpi xmlns:a14="http://schemas.microsoft.com/office/drawing/2010/main" val="0"/>
              </a:ext>
            </a:extLst>
          </a:blip>
          <a:srcRect l="16265" t="3005" r="6165" b="1684"/>
          <a:stretch/>
        </p:blipFill>
        <p:spPr>
          <a:xfrm>
            <a:off x="4846833" y="497"/>
            <a:ext cx="7588761" cy="6993533"/>
          </a:xfrm>
          <a:prstGeom prst="rect">
            <a:avLst/>
          </a:prstGeom>
        </p:spPr>
      </p:pic>
      <p:sp>
        <p:nvSpPr>
          <p:cNvPr id="11" name="Rectangle 10"/>
          <p:cNvSpPr/>
          <p:nvPr/>
        </p:nvSpPr>
        <p:spPr bwMode="auto">
          <a:xfrm>
            <a:off x="4846833" y="497"/>
            <a:ext cx="7588761" cy="6994028"/>
          </a:xfrm>
          <a:prstGeom prst="rect">
            <a:avLst/>
          </a:prstGeom>
          <a:gradFill flip="none" rotWithShape="1">
            <a:gsLst>
              <a:gs pos="2917">
                <a:srgbClr val="000000">
                  <a:alpha val="85000"/>
                </a:srgbClr>
              </a:gs>
              <a:gs pos="50000">
                <a:srgbClr val="000000">
                  <a:alpha val="70000"/>
                </a:srgbClr>
              </a:gs>
              <a:gs pos="76000">
                <a:srgbClr val="000000">
                  <a:alpha val="50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Rectangle 1"/>
          <p:cNvSpPr/>
          <p:nvPr/>
        </p:nvSpPr>
        <p:spPr bwMode="auto">
          <a:xfrm>
            <a:off x="4846833" y="497"/>
            <a:ext cx="7588761" cy="6994028"/>
          </a:xfrm>
          <a:prstGeom prst="rect">
            <a:avLst/>
          </a:prstGeom>
          <a:solidFill>
            <a:schemeClr val="accent5">
              <a:alpha val="8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Rectangle 4"/>
          <p:cNvSpPr/>
          <p:nvPr/>
        </p:nvSpPr>
        <p:spPr>
          <a:xfrm>
            <a:off x="567712" y="1817912"/>
            <a:ext cx="3207889" cy="3662541"/>
          </a:xfrm>
          <a:prstGeom prst="rect">
            <a:avLst/>
          </a:prstGeom>
        </p:spPr>
        <p:txBody>
          <a:bodyPr wrap="square">
            <a:spAutoFit/>
          </a:bodyPr>
          <a:lstStyle/>
          <a:p>
            <a:pPr marL="0" marR="0" lvl="0" indent="0" algn="l" defTabSz="932597" rtl="0" eaLnBrk="1" fontAlgn="auto" latinLnBrk="0" hangingPunct="1">
              <a:lnSpc>
                <a:spcPct val="100000"/>
              </a:lnSpc>
              <a:spcBef>
                <a:spcPts val="0"/>
              </a:spcBef>
              <a:spcAft>
                <a:spcPts val="1199"/>
              </a:spcAft>
              <a:buClrTx/>
              <a:buSzTx/>
              <a:buFontTx/>
              <a:buNone/>
              <a:tabLst/>
              <a:defRPr/>
            </a:pPr>
            <a:r>
              <a:rPr kumimoji="0" lang="en-US" altLang="en-US" sz="5000" b="0" i="0" u="none" strike="noStrike" kern="0" cap="none" spc="0" normalizeH="0" baseline="0" noProof="0" dirty="0">
                <a:ln>
                  <a:noFill/>
                </a:ln>
                <a:solidFill>
                  <a:sysClr val="windowText" lastClr="000000"/>
                </a:solidFill>
                <a:effectLst/>
                <a:uLnTx/>
                <a:uFillTx/>
                <a:latin typeface="Segoe UI Light"/>
                <a:ea typeface="+mn-ea"/>
                <a:cs typeface="+mn-cs"/>
              </a:rPr>
              <a:t>Microsoft </a:t>
            </a:r>
            <a:br>
              <a:rPr kumimoji="0" lang="en-US" altLang="en-US" sz="5000" b="0" i="0" u="none" strike="noStrike" kern="0" cap="none" spc="0" normalizeH="0" baseline="0" noProof="0" dirty="0">
                <a:ln>
                  <a:noFill/>
                </a:ln>
                <a:solidFill>
                  <a:sysClr val="windowText" lastClr="000000"/>
                </a:solidFill>
                <a:effectLst/>
                <a:uLnTx/>
                <a:uFillTx/>
                <a:latin typeface="Segoe UI Light"/>
                <a:ea typeface="+mn-ea"/>
                <a:cs typeface="+mn-cs"/>
              </a:rPr>
            </a:br>
            <a:r>
              <a:rPr kumimoji="0" lang="en-US" altLang="en-US" sz="5000" b="0" i="0" u="none" strike="noStrike" kern="0" cap="none" spc="0" normalizeH="0" baseline="0" noProof="0" dirty="0">
                <a:ln>
                  <a:noFill/>
                </a:ln>
                <a:solidFill>
                  <a:sysClr val="windowText" lastClr="000000"/>
                </a:solidFill>
                <a:effectLst/>
                <a:uLnTx/>
                <a:uFillTx/>
                <a:latin typeface="Segoe UI Light"/>
                <a:ea typeface="+mn-ea"/>
                <a:cs typeface="+mn-cs"/>
              </a:rPr>
              <a:t>Cognitive </a:t>
            </a:r>
            <a:br>
              <a:rPr kumimoji="0" lang="en-US" altLang="en-US" sz="5000" b="0" i="0" u="none" strike="noStrike" kern="0" cap="none" spc="0" normalizeH="0" baseline="0" noProof="0" dirty="0">
                <a:ln>
                  <a:noFill/>
                </a:ln>
                <a:solidFill>
                  <a:sysClr val="windowText" lastClr="000000"/>
                </a:solidFill>
                <a:effectLst/>
                <a:uLnTx/>
                <a:uFillTx/>
                <a:latin typeface="Segoe UI Light"/>
                <a:ea typeface="+mn-ea"/>
                <a:cs typeface="+mn-cs"/>
              </a:rPr>
            </a:br>
            <a:r>
              <a:rPr kumimoji="0" lang="en-US" altLang="en-US" sz="5000" b="0" i="0" u="none" strike="noStrike" kern="0" cap="none" spc="0" normalizeH="0" baseline="0" noProof="0" dirty="0">
                <a:ln>
                  <a:noFill/>
                </a:ln>
                <a:solidFill>
                  <a:sysClr val="windowText" lastClr="000000"/>
                </a:solidFill>
                <a:effectLst/>
                <a:uLnTx/>
                <a:uFillTx/>
                <a:latin typeface="Segoe UI Light"/>
                <a:ea typeface="+mn-ea"/>
                <a:cs typeface="+mn-cs"/>
              </a:rPr>
              <a:t>Services</a:t>
            </a:r>
          </a:p>
          <a:p>
            <a:pPr marL="0" marR="0" lvl="0" indent="0" algn="l" defTabSz="932597" rtl="0" eaLnBrk="1" fontAlgn="auto" latinLnBrk="0" hangingPunct="1">
              <a:lnSpc>
                <a:spcPct val="100000"/>
              </a:lnSpc>
              <a:spcBef>
                <a:spcPts val="0"/>
              </a:spcBef>
              <a:spcAft>
                <a:spcPts val="1199"/>
              </a:spcAft>
              <a:buClrTx/>
              <a:buSzTx/>
              <a:buFontTx/>
              <a:buNone/>
              <a:tabLst/>
              <a:defRPr/>
            </a:pPr>
            <a:r>
              <a:rPr kumimoji="0" lang="en-US" sz="3600" b="0" i="0" u="none" strike="noStrike" kern="0" cap="none" spc="0" normalizeH="0" baseline="0" noProof="0" dirty="0">
                <a:ln>
                  <a:noFill/>
                </a:ln>
                <a:gradFill>
                  <a:gsLst>
                    <a:gs pos="0">
                      <a:srgbClr val="008272"/>
                    </a:gs>
                    <a:gs pos="100000">
                      <a:srgbClr val="008272"/>
                    </a:gs>
                  </a:gsLst>
                  <a:lin ang="5400000" scaled="0"/>
                </a:gradFill>
                <a:effectLst/>
                <a:uLnTx/>
                <a:uFillTx/>
                <a:latin typeface="Segoe UI Light"/>
                <a:ea typeface="+mn-ea"/>
                <a:cs typeface="+mn-cs"/>
              </a:rPr>
              <a:t>Give your apps </a:t>
            </a:r>
            <a:br>
              <a:rPr kumimoji="0" lang="en-US" sz="3600" b="0" i="0" u="none" strike="noStrike" kern="0" cap="none" spc="0" normalizeH="0" baseline="0" noProof="0" dirty="0">
                <a:ln>
                  <a:noFill/>
                </a:ln>
                <a:gradFill>
                  <a:gsLst>
                    <a:gs pos="0">
                      <a:srgbClr val="008272"/>
                    </a:gs>
                    <a:gs pos="100000">
                      <a:srgbClr val="008272"/>
                    </a:gs>
                  </a:gsLst>
                  <a:lin ang="5400000" scaled="0"/>
                </a:gradFill>
                <a:effectLst/>
                <a:uLnTx/>
                <a:uFillTx/>
                <a:latin typeface="Segoe UI Light"/>
                <a:ea typeface="+mn-ea"/>
                <a:cs typeface="+mn-cs"/>
              </a:rPr>
            </a:br>
            <a:r>
              <a:rPr kumimoji="0" lang="en-US" sz="3600" b="0" i="0" u="none" strike="noStrike" kern="0" cap="none" spc="0" normalizeH="0" baseline="0" noProof="0" dirty="0">
                <a:ln>
                  <a:noFill/>
                </a:ln>
                <a:gradFill>
                  <a:gsLst>
                    <a:gs pos="0">
                      <a:srgbClr val="008272"/>
                    </a:gs>
                    <a:gs pos="100000">
                      <a:srgbClr val="008272"/>
                    </a:gs>
                  </a:gsLst>
                  <a:lin ang="5400000" scaled="0"/>
                </a:gradFill>
                <a:effectLst/>
                <a:uLnTx/>
                <a:uFillTx/>
                <a:latin typeface="Segoe UI Light"/>
                <a:ea typeface="+mn-ea"/>
                <a:cs typeface="+mn-cs"/>
              </a:rPr>
              <a:t>a human side</a:t>
            </a:r>
          </a:p>
        </p:txBody>
      </p:sp>
      <p:sp>
        <p:nvSpPr>
          <p:cNvPr id="6" name="TextBox 5"/>
          <p:cNvSpPr txBox="1"/>
          <p:nvPr/>
        </p:nvSpPr>
        <p:spPr>
          <a:xfrm>
            <a:off x="6403730" y="968550"/>
            <a:ext cx="4663017" cy="1299635"/>
          </a:xfrm>
          <a:prstGeom prst="rect">
            <a:avLst/>
          </a:prstGeom>
          <a:noFill/>
        </p:spPr>
        <p:txBody>
          <a:bodyPr wrap="square" lIns="186521" tIns="149217" rIns="186521" bIns="149217" rtlCol="0">
            <a:spAutoFit/>
          </a:bodyPr>
          <a:lstStyle/>
          <a:p>
            <a:pPr marL="0" marR="0" lvl="0" indent="0" algn="l" defTabSz="932597" rtl="0" eaLnBrk="1" fontAlgn="auto" latinLnBrk="0" hangingPunct="1">
              <a:lnSpc>
                <a:spcPct val="90000"/>
              </a:lnSpc>
              <a:spcBef>
                <a:spcPts val="0"/>
              </a:spcBef>
              <a:spcAft>
                <a:spcPts val="612"/>
              </a:spcAft>
              <a:buClrTx/>
              <a:buSzTx/>
              <a:buFontTx/>
              <a:buNone/>
              <a:tabLst/>
              <a:defRPr/>
            </a:pPr>
            <a:r>
              <a:rPr kumimoji="0" lang="en-US" sz="2652"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Vision</a:t>
            </a:r>
          </a:p>
          <a:p>
            <a:pPr marL="0" marR="0" lvl="0" indent="0" algn="l" defTabSz="932597" rtl="0" eaLnBrk="1" fontAlgn="auto" latinLnBrk="0" hangingPunct="1">
              <a:lnSpc>
                <a:spcPct val="90000"/>
              </a:lnSpc>
              <a:spcBef>
                <a:spcPts val="0"/>
              </a:spcBef>
              <a:spcAft>
                <a:spcPts val="612"/>
              </a:spcAft>
              <a:buClrTx/>
              <a:buSzTx/>
              <a:buFontTx/>
              <a:buNone/>
              <a:tabLst/>
              <a:defRPr/>
            </a:pPr>
            <a:r>
              <a:rPr kumimoji="0" lang="en-US" sz="2000" b="0" i="0" u="none" strike="noStrike" kern="0" cap="none" spc="0" normalizeH="0" baseline="0" noProof="0" dirty="0">
                <a:ln>
                  <a:noFill/>
                </a:ln>
                <a:solidFill>
                  <a:srgbClr val="FFFFFF"/>
                </a:solidFill>
                <a:effectLst/>
                <a:uLnTx/>
                <a:uFillTx/>
                <a:latin typeface="Segoe UI Light"/>
                <a:ea typeface="+mn-ea"/>
                <a:cs typeface="+mn-cs"/>
              </a:rPr>
              <a:t>From faces to feelings, allow your </a:t>
            </a:r>
            <a:br>
              <a:rPr kumimoji="0" lang="en-US" sz="2000" b="0" i="0" u="none" strike="noStrike" kern="0" cap="none" spc="0" normalizeH="0" baseline="0" noProof="0" dirty="0">
                <a:ln>
                  <a:noFill/>
                </a:ln>
                <a:solidFill>
                  <a:srgbClr val="FFFFFF"/>
                </a:solidFill>
                <a:effectLst/>
                <a:uLnTx/>
                <a:uFillTx/>
                <a:latin typeface="Segoe UI Light"/>
                <a:ea typeface="+mn-ea"/>
                <a:cs typeface="+mn-cs"/>
              </a:rPr>
            </a:br>
            <a:r>
              <a:rPr kumimoji="0" lang="en-US" sz="2000" b="0" i="0" u="none" strike="noStrike" kern="0" cap="none" spc="0" normalizeH="0" baseline="0" noProof="0" dirty="0">
                <a:ln>
                  <a:noFill/>
                </a:ln>
                <a:solidFill>
                  <a:srgbClr val="FFFFFF"/>
                </a:solidFill>
                <a:effectLst/>
                <a:uLnTx/>
                <a:uFillTx/>
                <a:latin typeface="Segoe UI Light"/>
                <a:ea typeface="+mn-ea"/>
                <a:cs typeface="+mn-cs"/>
              </a:rPr>
              <a:t>apps to understand images and video</a:t>
            </a:r>
          </a:p>
        </p:txBody>
      </p:sp>
      <p:sp>
        <p:nvSpPr>
          <p:cNvPr id="7" name="TextBox 6"/>
          <p:cNvSpPr txBox="1"/>
          <p:nvPr/>
        </p:nvSpPr>
        <p:spPr>
          <a:xfrm>
            <a:off x="6403730" y="2136779"/>
            <a:ext cx="5605707" cy="1299635"/>
          </a:xfrm>
          <a:prstGeom prst="rect">
            <a:avLst/>
          </a:prstGeom>
          <a:noFill/>
        </p:spPr>
        <p:txBody>
          <a:bodyPr wrap="square" lIns="186521" tIns="149217" rIns="186521" bIns="149217" rtlCol="0">
            <a:spAutoFit/>
          </a:bodyPr>
          <a:lstStyle/>
          <a:p>
            <a:pPr marL="0" marR="0" lvl="0" indent="0" algn="l" defTabSz="932597" rtl="0" eaLnBrk="1" fontAlgn="auto" latinLnBrk="0" hangingPunct="1">
              <a:lnSpc>
                <a:spcPct val="90000"/>
              </a:lnSpc>
              <a:spcBef>
                <a:spcPts val="0"/>
              </a:spcBef>
              <a:spcAft>
                <a:spcPts val="612"/>
              </a:spcAft>
              <a:buClrTx/>
              <a:buSzTx/>
              <a:buFontTx/>
              <a:buNone/>
              <a:tabLst/>
              <a:defRPr/>
            </a:pPr>
            <a:r>
              <a:rPr kumimoji="0" lang="en-US" sz="2652"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Speech</a:t>
            </a:r>
          </a:p>
          <a:p>
            <a:pPr marL="0" marR="0" lvl="0" indent="0" algn="l" defTabSz="932597" rtl="0" eaLnBrk="1" fontAlgn="auto" latinLnBrk="0" hangingPunct="1">
              <a:lnSpc>
                <a:spcPct val="90000"/>
              </a:lnSpc>
              <a:spcBef>
                <a:spcPts val="0"/>
              </a:spcBef>
              <a:spcAft>
                <a:spcPts val="612"/>
              </a:spcAft>
              <a:buClrTx/>
              <a:buSzTx/>
              <a:buFontTx/>
              <a:buNone/>
              <a:tabLst/>
              <a:defRPr/>
            </a:pPr>
            <a:r>
              <a:rPr kumimoji="0" lang="en-US" sz="2000" b="0" i="0" u="none" strike="noStrike" kern="0" cap="none" spc="0" normalizeH="0" baseline="0" noProof="0" dirty="0">
                <a:ln>
                  <a:noFill/>
                </a:ln>
                <a:solidFill>
                  <a:srgbClr val="FFFFFF"/>
                </a:solidFill>
                <a:effectLst/>
                <a:uLnTx/>
                <a:uFillTx/>
                <a:latin typeface="Segoe UI Light"/>
                <a:ea typeface="+mn-ea"/>
                <a:cs typeface="+mn-cs"/>
              </a:rPr>
              <a:t>Hear and speak to your users by filtering noise, identifying speakers, and understanding intent</a:t>
            </a:r>
          </a:p>
        </p:txBody>
      </p:sp>
      <p:sp>
        <p:nvSpPr>
          <p:cNvPr id="8" name="TextBox 7"/>
          <p:cNvSpPr txBox="1"/>
          <p:nvPr/>
        </p:nvSpPr>
        <p:spPr>
          <a:xfrm>
            <a:off x="6403731" y="3305007"/>
            <a:ext cx="4310306" cy="1299635"/>
          </a:xfrm>
          <a:prstGeom prst="rect">
            <a:avLst/>
          </a:prstGeom>
          <a:noFill/>
        </p:spPr>
        <p:txBody>
          <a:bodyPr wrap="square" lIns="186521" tIns="149217" rIns="186521" bIns="149217" rtlCol="0">
            <a:spAutoFit/>
          </a:bodyPr>
          <a:lstStyle/>
          <a:p>
            <a:pPr marL="0" marR="0" lvl="0" indent="0" algn="l" defTabSz="932597" rtl="0" eaLnBrk="1" fontAlgn="auto" latinLnBrk="0" hangingPunct="1">
              <a:lnSpc>
                <a:spcPct val="90000"/>
              </a:lnSpc>
              <a:spcBef>
                <a:spcPts val="0"/>
              </a:spcBef>
              <a:spcAft>
                <a:spcPts val="612"/>
              </a:spcAft>
              <a:buClrTx/>
              <a:buSzTx/>
              <a:buFontTx/>
              <a:buNone/>
              <a:tabLst/>
              <a:defRPr/>
            </a:pPr>
            <a:r>
              <a:rPr kumimoji="0" lang="en-US" sz="2652"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Language</a:t>
            </a:r>
          </a:p>
          <a:p>
            <a:pPr marL="0" marR="0" lvl="0" indent="0" algn="l" defTabSz="932597" rtl="0" eaLnBrk="1" fontAlgn="auto" latinLnBrk="0" hangingPunct="1">
              <a:lnSpc>
                <a:spcPct val="90000"/>
              </a:lnSpc>
              <a:spcBef>
                <a:spcPts val="0"/>
              </a:spcBef>
              <a:spcAft>
                <a:spcPts val="612"/>
              </a:spcAft>
              <a:buClrTx/>
              <a:buSzTx/>
              <a:buFontTx/>
              <a:buNone/>
              <a:tabLst/>
              <a:defRPr/>
            </a:pPr>
            <a:r>
              <a:rPr kumimoji="0" lang="en-US" sz="2000" b="0" i="0" u="none" strike="noStrike" kern="0" cap="none" spc="0" normalizeH="0" baseline="0" noProof="0" dirty="0">
                <a:ln>
                  <a:noFill/>
                </a:ln>
                <a:solidFill>
                  <a:srgbClr val="FFFFFF"/>
                </a:solidFill>
                <a:effectLst/>
                <a:uLnTx/>
                <a:uFillTx/>
                <a:latin typeface="Segoe UI Light"/>
                <a:ea typeface="+mn-ea"/>
                <a:cs typeface="+mn-cs"/>
              </a:rPr>
              <a:t>Process text and learn how to recognize what users want</a:t>
            </a:r>
          </a:p>
        </p:txBody>
      </p:sp>
      <p:sp>
        <p:nvSpPr>
          <p:cNvPr id="9" name="TextBox 8"/>
          <p:cNvSpPr txBox="1"/>
          <p:nvPr/>
        </p:nvSpPr>
        <p:spPr>
          <a:xfrm>
            <a:off x="6403730" y="4473236"/>
            <a:ext cx="4663017" cy="1299635"/>
          </a:xfrm>
          <a:prstGeom prst="rect">
            <a:avLst/>
          </a:prstGeom>
          <a:noFill/>
        </p:spPr>
        <p:txBody>
          <a:bodyPr wrap="square" lIns="186521" tIns="149217" rIns="186521" bIns="149217" rtlCol="0">
            <a:spAutoFit/>
          </a:bodyPr>
          <a:lstStyle/>
          <a:p>
            <a:pPr marL="0" marR="0" lvl="0" indent="0" algn="l" defTabSz="932597" rtl="0" eaLnBrk="1" fontAlgn="auto" latinLnBrk="0" hangingPunct="1">
              <a:lnSpc>
                <a:spcPct val="90000"/>
              </a:lnSpc>
              <a:spcBef>
                <a:spcPts val="0"/>
              </a:spcBef>
              <a:spcAft>
                <a:spcPts val="612"/>
              </a:spcAft>
              <a:buClrTx/>
              <a:buSzTx/>
              <a:buFontTx/>
              <a:buNone/>
              <a:tabLst/>
              <a:defRPr/>
            </a:pPr>
            <a:r>
              <a:rPr kumimoji="0" lang="en-US" sz="2652"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Knowledge</a:t>
            </a:r>
          </a:p>
          <a:p>
            <a:pPr marL="0" marR="0" lvl="0" indent="0" algn="l" defTabSz="932597" rtl="0" eaLnBrk="1" fontAlgn="auto" latinLnBrk="0" hangingPunct="1">
              <a:lnSpc>
                <a:spcPct val="90000"/>
              </a:lnSpc>
              <a:spcBef>
                <a:spcPts val="0"/>
              </a:spcBef>
              <a:spcAft>
                <a:spcPts val="612"/>
              </a:spcAft>
              <a:buClrTx/>
              <a:buSzTx/>
              <a:buFontTx/>
              <a:buNone/>
              <a:tabLst/>
              <a:defRPr/>
            </a:pPr>
            <a:r>
              <a:rPr kumimoji="0" lang="en-US" sz="2000" b="0" i="0" u="none" strike="noStrike" kern="0" cap="none" spc="0" normalizeH="0" baseline="0" noProof="0" dirty="0">
                <a:ln>
                  <a:noFill/>
                </a:ln>
                <a:solidFill>
                  <a:srgbClr val="FFFFFF"/>
                </a:solidFill>
                <a:effectLst/>
                <a:uLnTx/>
                <a:uFillTx/>
                <a:latin typeface="Segoe UI Light"/>
                <a:ea typeface="+mn-ea"/>
                <a:cs typeface="+mn-cs"/>
              </a:rPr>
              <a:t>Tap into rich knowledge amassed from </a:t>
            </a:r>
            <a:br>
              <a:rPr kumimoji="0" lang="en-US" sz="2000" b="0" i="0" u="none" strike="noStrike" kern="0" cap="none" spc="0" normalizeH="0" baseline="0" noProof="0" dirty="0">
                <a:ln>
                  <a:noFill/>
                </a:ln>
                <a:solidFill>
                  <a:srgbClr val="FFFFFF"/>
                </a:solidFill>
                <a:effectLst/>
                <a:uLnTx/>
                <a:uFillTx/>
                <a:latin typeface="Segoe UI Light"/>
                <a:ea typeface="+mn-ea"/>
                <a:cs typeface="+mn-cs"/>
              </a:rPr>
            </a:br>
            <a:r>
              <a:rPr kumimoji="0" lang="en-US" sz="2000" b="0" i="0" u="none" strike="noStrike" kern="0" cap="none" spc="0" normalizeH="0" baseline="0" noProof="0" dirty="0">
                <a:ln>
                  <a:noFill/>
                </a:ln>
                <a:solidFill>
                  <a:srgbClr val="FFFFFF"/>
                </a:solidFill>
                <a:effectLst/>
                <a:uLnTx/>
                <a:uFillTx/>
                <a:latin typeface="Segoe UI Light"/>
                <a:ea typeface="+mn-ea"/>
                <a:cs typeface="+mn-cs"/>
              </a:rPr>
              <a:t>the web, academia, or your own data</a:t>
            </a:r>
          </a:p>
        </p:txBody>
      </p:sp>
      <p:sp>
        <p:nvSpPr>
          <p:cNvPr id="10" name="TextBox 9"/>
          <p:cNvSpPr txBox="1"/>
          <p:nvPr/>
        </p:nvSpPr>
        <p:spPr>
          <a:xfrm>
            <a:off x="6403731" y="5641462"/>
            <a:ext cx="5377106" cy="1299635"/>
          </a:xfrm>
          <a:prstGeom prst="rect">
            <a:avLst/>
          </a:prstGeom>
          <a:noFill/>
        </p:spPr>
        <p:txBody>
          <a:bodyPr wrap="square" lIns="186521" tIns="149217" rIns="93260" bIns="149217" rtlCol="0">
            <a:spAutoFit/>
          </a:bodyPr>
          <a:lstStyle/>
          <a:p>
            <a:pPr marL="0" marR="0" lvl="0" indent="0" algn="l" defTabSz="932597" rtl="0" eaLnBrk="1" fontAlgn="auto" latinLnBrk="0" hangingPunct="1">
              <a:lnSpc>
                <a:spcPct val="90000"/>
              </a:lnSpc>
              <a:spcBef>
                <a:spcPts val="0"/>
              </a:spcBef>
              <a:spcAft>
                <a:spcPts val="612"/>
              </a:spcAft>
              <a:buClrTx/>
              <a:buSzTx/>
              <a:buFontTx/>
              <a:buNone/>
              <a:tabLst/>
              <a:defRPr/>
            </a:pPr>
            <a:r>
              <a:rPr kumimoji="0" lang="en-US" sz="2652"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Search</a:t>
            </a:r>
          </a:p>
          <a:p>
            <a:pPr marL="0" marR="0" lvl="0" indent="0" algn="l" defTabSz="932597" rtl="0" eaLnBrk="1" fontAlgn="auto" latinLnBrk="0" hangingPunct="1">
              <a:lnSpc>
                <a:spcPct val="90000"/>
              </a:lnSpc>
              <a:spcBef>
                <a:spcPts val="0"/>
              </a:spcBef>
              <a:spcAft>
                <a:spcPts val="612"/>
              </a:spcAft>
              <a:buClrTx/>
              <a:buSzTx/>
              <a:buFontTx/>
              <a:buNone/>
              <a:tabLst/>
              <a:defRPr/>
            </a:pPr>
            <a:r>
              <a:rPr kumimoji="0" lang="en-US" sz="2000" b="0" i="0" u="none" strike="noStrike" kern="0" cap="none" spc="0" normalizeH="0" baseline="0" noProof="0" dirty="0">
                <a:ln>
                  <a:noFill/>
                </a:ln>
                <a:solidFill>
                  <a:srgbClr val="FFFFFF"/>
                </a:solidFill>
                <a:effectLst/>
                <a:uLnTx/>
                <a:uFillTx/>
                <a:latin typeface="Segoe UI Light"/>
                <a:ea typeface="+mn-ea"/>
                <a:cs typeface="+mn-cs"/>
              </a:rPr>
              <a:t>Access billions of web pages, images, videos, and news with the power of Bing APIs</a:t>
            </a:r>
          </a:p>
        </p:txBody>
      </p:sp>
      <p:sp>
        <p:nvSpPr>
          <p:cNvPr id="40" name="Freeform 22"/>
          <p:cNvSpPr>
            <a:spLocks noChangeAspect="1"/>
          </p:cNvSpPr>
          <p:nvPr/>
        </p:nvSpPr>
        <p:spPr bwMode="auto">
          <a:xfrm>
            <a:off x="5511675" y="1359061"/>
            <a:ext cx="674510" cy="446340"/>
          </a:xfrm>
          <a:custGeom>
            <a:avLst/>
            <a:gdLst>
              <a:gd name="T0" fmla="*/ 4942 w 7181"/>
              <a:gd name="T1" fmla="*/ 414 h 4752"/>
              <a:gd name="T2" fmla="*/ 3024 w 7181"/>
              <a:gd name="T3" fmla="*/ 152 h 4752"/>
              <a:gd name="T4" fmla="*/ 0 w 7181"/>
              <a:gd name="T5" fmla="*/ 2353 h 4752"/>
              <a:gd name="T6" fmla="*/ 2201 w 7181"/>
              <a:gd name="T7" fmla="*/ 4282 h 4752"/>
              <a:gd name="T8" fmla="*/ 4848 w 7181"/>
              <a:gd name="T9" fmla="*/ 4351 h 4752"/>
              <a:gd name="T10" fmla="*/ 7102 w 7181"/>
              <a:gd name="T11" fmla="*/ 2474 h 4752"/>
              <a:gd name="T12" fmla="*/ 7181 w 7181"/>
              <a:gd name="T13" fmla="*/ 2350 h 4752"/>
              <a:gd name="T14" fmla="*/ 4942 w 7181"/>
              <a:gd name="T15" fmla="*/ 414 h 47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81" h="4752">
                <a:moveTo>
                  <a:pt x="4942" y="414"/>
                </a:moveTo>
                <a:cubicBezTo>
                  <a:pt x="4333" y="124"/>
                  <a:pt x="3691" y="0"/>
                  <a:pt x="3024" y="152"/>
                </a:cubicBezTo>
                <a:cubicBezTo>
                  <a:pt x="1710" y="456"/>
                  <a:pt x="812" y="1327"/>
                  <a:pt x="0" y="2353"/>
                </a:cubicBezTo>
                <a:cubicBezTo>
                  <a:pt x="608" y="3169"/>
                  <a:pt x="1306" y="3839"/>
                  <a:pt x="2201" y="4282"/>
                </a:cubicBezTo>
                <a:cubicBezTo>
                  <a:pt x="3069" y="4710"/>
                  <a:pt x="3957" y="4752"/>
                  <a:pt x="4848" y="4351"/>
                </a:cubicBezTo>
                <a:cubicBezTo>
                  <a:pt x="5771" y="3932"/>
                  <a:pt x="6490" y="3269"/>
                  <a:pt x="7102" y="2474"/>
                </a:cubicBezTo>
                <a:cubicBezTo>
                  <a:pt x="7129" y="2436"/>
                  <a:pt x="7154" y="2395"/>
                  <a:pt x="7181" y="2350"/>
                </a:cubicBezTo>
                <a:cubicBezTo>
                  <a:pt x="6570" y="1534"/>
                  <a:pt x="5861" y="853"/>
                  <a:pt x="4942" y="41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1" name="Freeform 18"/>
          <p:cNvSpPr>
            <a:spLocks noChangeAspect="1"/>
          </p:cNvSpPr>
          <p:nvPr/>
        </p:nvSpPr>
        <p:spPr bwMode="auto">
          <a:xfrm>
            <a:off x="5549785" y="2488410"/>
            <a:ext cx="598290" cy="524098"/>
          </a:xfrm>
          <a:custGeom>
            <a:avLst/>
            <a:gdLst>
              <a:gd name="T0" fmla="*/ 115 w 6349"/>
              <a:gd name="T1" fmla="*/ 1548 h 5575"/>
              <a:gd name="T2" fmla="*/ 1324 w 6349"/>
              <a:gd name="T3" fmla="*/ 225 h 5575"/>
              <a:gd name="T4" fmla="*/ 5039 w 6349"/>
              <a:gd name="T5" fmla="*/ 228 h 5575"/>
              <a:gd name="T6" fmla="*/ 6221 w 6349"/>
              <a:gd name="T7" fmla="*/ 1445 h 5575"/>
              <a:gd name="T8" fmla="*/ 6235 w 6349"/>
              <a:gd name="T9" fmla="*/ 3263 h 5575"/>
              <a:gd name="T10" fmla="*/ 4974 w 6349"/>
              <a:gd name="T11" fmla="*/ 4531 h 5575"/>
              <a:gd name="T12" fmla="*/ 3498 w 6349"/>
              <a:gd name="T13" fmla="*/ 4683 h 5575"/>
              <a:gd name="T14" fmla="*/ 3298 w 6349"/>
              <a:gd name="T15" fmla="*/ 4745 h 5575"/>
              <a:gd name="T16" fmla="*/ 2475 w 6349"/>
              <a:gd name="T17" fmla="*/ 5284 h 5575"/>
              <a:gd name="T18" fmla="*/ 1414 w 6349"/>
              <a:gd name="T19" fmla="*/ 5561 h 5575"/>
              <a:gd name="T20" fmla="*/ 1936 w 6349"/>
              <a:gd name="T21" fmla="*/ 4628 h 5575"/>
              <a:gd name="T22" fmla="*/ 1490 w 6349"/>
              <a:gd name="T23" fmla="*/ 4559 h 5575"/>
              <a:gd name="T24" fmla="*/ 118 w 6349"/>
              <a:gd name="T25" fmla="*/ 3270 h 5575"/>
              <a:gd name="T26" fmla="*/ 115 w 6349"/>
              <a:gd name="T27" fmla="*/ 1548 h 5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9" h="5575">
                <a:moveTo>
                  <a:pt x="115" y="1548"/>
                </a:moveTo>
                <a:cubicBezTo>
                  <a:pt x="211" y="957"/>
                  <a:pt x="595" y="353"/>
                  <a:pt x="1324" y="225"/>
                </a:cubicBezTo>
                <a:cubicBezTo>
                  <a:pt x="2565" y="10"/>
                  <a:pt x="3802" y="0"/>
                  <a:pt x="5039" y="228"/>
                </a:cubicBezTo>
                <a:cubicBezTo>
                  <a:pt x="5713" y="353"/>
                  <a:pt x="6086" y="792"/>
                  <a:pt x="6221" y="1445"/>
                </a:cubicBezTo>
                <a:cubicBezTo>
                  <a:pt x="6349" y="2050"/>
                  <a:pt x="6339" y="2658"/>
                  <a:pt x="6235" y="3263"/>
                </a:cubicBezTo>
                <a:cubicBezTo>
                  <a:pt x="6135" y="3847"/>
                  <a:pt x="5724" y="4438"/>
                  <a:pt x="4974" y="4531"/>
                </a:cubicBezTo>
                <a:cubicBezTo>
                  <a:pt x="4483" y="4590"/>
                  <a:pt x="3989" y="4631"/>
                  <a:pt x="3498" y="4683"/>
                </a:cubicBezTo>
                <a:cubicBezTo>
                  <a:pt x="3429" y="4690"/>
                  <a:pt x="3356" y="4707"/>
                  <a:pt x="3298" y="4745"/>
                </a:cubicBezTo>
                <a:cubicBezTo>
                  <a:pt x="3021" y="4921"/>
                  <a:pt x="2869" y="5125"/>
                  <a:pt x="2475" y="5284"/>
                </a:cubicBezTo>
                <a:cubicBezTo>
                  <a:pt x="2154" y="5423"/>
                  <a:pt x="1466" y="5575"/>
                  <a:pt x="1414" y="5561"/>
                </a:cubicBezTo>
                <a:cubicBezTo>
                  <a:pt x="1390" y="5523"/>
                  <a:pt x="1894" y="4963"/>
                  <a:pt x="1936" y="4628"/>
                </a:cubicBezTo>
                <a:cubicBezTo>
                  <a:pt x="1760" y="4600"/>
                  <a:pt x="1625" y="4579"/>
                  <a:pt x="1490" y="4559"/>
                </a:cubicBezTo>
                <a:cubicBezTo>
                  <a:pt x="719" y="4441"/>
                  <a:pt x="277" y="4013"/>
                  <a:pt x="118" y="3270"/>
                </a:cubicBezTo>
                <a:cubicBezTo>
                  <a:pt x="0" y="2665"/>
                  <a:pt x="35" y="2056"/>
                  <a:pt x="115" y="154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2" name="Freeform 9"/>
          <p:cNvSpPr>
            <a:spLocks noChangeAspect="1"/>
          </p:cNvSpPr>
          <p:nvPr/>
        </p:nvSpPr>
        <p:spPr bwMode="auto">
          <a:xfrm>
            <a:off x="5634608" y="3649183"/>
            <a:ext cx="428643" cy="539009"/>
          </a:xfrm>
          <a:custGeom>
            <a:avLst/>
            <a:gdLst>
              <a:gd name="T0" fmla="*/ 5153 w 5153"/>
              <a:gd name="T1" fmla="*/ 2353 h 6483"/>
              <a:gd name="T2" fmla="*/ 2799 w 5153"/>
              <a:gd name="T3" fmla="*/ 0 h 6483"/>
              <a:gd name="T4" fmla="*/ 445 w 5153"/>
              <a:gd name="T5" fmla="*/ 2353 h 6483"/>
              <a:gd name="T6" fmla="*/ 1852 w 5153"/>
              <a:gd name="T7" fmla="*/ 4507 h 6483"/>
              <a:gd name="T8" fmla="*/ 1399 w 5153"/>
              <a:gd name="T9" fmla="*/ 4932 h 6483"/>
              <a:gd name="T10" fmla="*/ 214 w 5153"/>
              <a:gd name="T11" fmla="*/ 5457 h 6483"/>
              <a:gd name="T12" fmla="*/ 41 w 5153"/>
              <a:gd name="T13" fmla="*/ 5578 h 6483"/>
              <a:gd name="T14" fmla="*/ 0 w 5153"/>
              <a:gd name="T15" fmla="*/ 6245 h 6483"/>
              <a:gd name="T16" fmla="*/ 96 w 5153"/>
              <a:gd name="T17" fmla="*/ 6276 h 6483"/>
              <a:gd name="T18" fmla="*/ 3145 w 5153"/>
              <a:gd name="T19" fmla="*/ 5637 h 6483"/>
              <a:gd name="T20" fmla="*/ 5153 w 5153"/>
              <a:gd name="T21" fmla="*/ 2353 h 6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153" h="6483">
                <a:moveTo>
                  <a:pt x="5153" y="2353"/>
                </a:moveTo>
                <a:cubicBezTo>
                  <a:pt x="5153" y="1054"/>
                  <a:pt x="4098" y="0"/>
                  <a:pt x="2799" y="0"/>
                </a:cubicBezTo>
                <a:cubicBezTo>
                  <a:pt x="1500" y="0"/>
                  <a:pt x="445" y="1054"/>
                  <a:pt x="445" y="2353"/>
                </a:cubicBezTo>
                <a:cubicBezTo>
                  <a:pt x="445" y="3314"/>
                  <a:pt x="1023" y="4144"/>
                  <a:pt x="1852" y="4507"/>
                </a:cubicBezTo>
                <a:cubicBezTo>
                  <a:pt x="1776" y="4634"/>
                  <a:pt x="1586" y="4814"/>
                  <a:pt x="1399" y="4932"/>
                </a:cubicBezTo>
                <a:cubicBezTo>
                  <a:pt x="1036" y="5167"/>
                  <a:pt x="611" y="5284"/>
                  <a:pt x="214" y="5457"/>
                </a:cubicBezTo>
                <a:cubicBezTo>
                  <a:pt x="148" y="5485"/>
                  <a:pt x="45" y="5530"/>
                  <a:pt x="41" y="5578"/>
                </a:cubicBezTo>
                <a:cubicBezTo>
                  <a:pt x="13" y="5799"/>
                  <a:pt x="10" y="6027"/>
                  <a:pt x="0" y="6245"/>
                </a:cubicBezTo>
                <a:cubicBezTo>
                  <a:pt x="48" y="6262"/>
                  <a:pt x="72" y="6273"/>
                  <a:pt x="96" y="6276"/>
                </a:cubicBezTo>
                <a:cubicBezTo>
                  <a:pt x="1213" y="6483"/>
                  <a:pt x="2229" y="6221"/>
                  <a:pt x="3145" y="5637"/>
                </a:cubicBezTo>
                <a:cubicBezTo>
                  <a:pt x="4095" y="5032"/>
                  <a:pt x="5153" y="4043"/>
                  <a:pt x="5153" y="23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3" name="Freeform 5"/>
          <p:cNvSpPr>
            <a:spLocks/>
          </p:cNvSpPr>
          <p:nvPr/>
        </p:nvSpPr>
        <p:spPr bwMode="auto">
          <a:xfrm>
            <a:off x="5580475" y="4818461"/>
            <a:ext cx="536910" cy="536910"/>
          </a:xfrm>
          <a:custGeom>
            <a:avLst/>
            <a:gdLst>
              <a:gd name="T0" fmla="*/ 5986 w 5986"/>
              <a:gd name="T1" fmla="*/ 3594 h 5985"/>
              <a:gd name="T2" fmla="*/ 5986 w 5986"/>
              <a:gd name="T3" fmla="*/ 2395 h 5985"/>
              <a:gd name="T4" fmla="*/ 5402 w 5986"/>
              <a:gd name="T5" fmla="*/ 2395 h 5985"/>
              <a:gd name="T6" fmla="*/ 5122 w 5986"/>
              <a:gd name="T7" fmla="*/ 1717 h 5985"/>
              <a:gd name="T8" fmla="*/ 5533 w 5986"/>
              <a:gd name="T9" fmla="*/ 1330 h 5985"/>
              <a:gd name="T10" fmla="*/ 4666 w 5986"/>
              <a:gd name="T11" fmla="*/ 463 h 5985"/>
              <a:gd name="T12" fmla="*/ 4282 w 5986"/>
              <a:gd name="T13" fmla="*/ 870 h 5985"/>
              <a:gd name="T14" fmla="*/ 3591 w 5986"/>
              <a:gd name="T15" fmla="*/ 584 h 5985"/>
              <a:gd name="T16" fmla="*/ 3591 w 5986"/>
              <a:gd name="T17" fmla="*/ 0 h 5985"/>
              <a:gd name="T18" fmla="*/ 2392 w 5986"/>
              <a:gd name="T19" fmla="*/ 0 h 5985"/>
              <a:gd name="T20" fmla="*/ 2392 w 5986"/>
              <a:gd name="T21" fmla="*/ 587 h 5985"/>
              <a:gd name="T22" fmla="*/ 1711 w 5986"/>
              <a:gd name="T23" fmla="*/ 870 h 5985"/>
              <a:gd name="T24" fmla="*/ 1327 w 5986"/>
              <a:gd name="T25" fmla="*/ 456 h 5985"/>
              <a:gd name="T26" fmla="*/ 453 w 5986"/>
              <a:gd name="T27" fmla="*/ 1323 h 5985"/>
              <a:gd name="T28" fmla="*/ 868 w 5986"/>
              <a:gd name="T29" fmla="*/ 1710 h 5985"/>
              <a:gd name="T30" fmla="*/ 584 w 5986"/>
              <a:gd name="T31" fmla="*/ 2395 h 5985"/>
              <a:gd name="T32" fmla="*/ 0 w 5986"/>
              <a:gd name="T33" fmla="*/ 2395 h 5985"/>
              <a:gd name="T34" fmla="*/ 0 w 5986"/>
              <a:gd name="T35" fmla="*/ 3587 h 5985"/>
              <a:gd name="T36" fmla="*/ 584 w 5986"/>
              <a:gd name="T37" fmla="*/ 3587 h 5985"/>
              <a:gd name="T38" fmla="*/ 871 w 5986"/>
              <a:gd name="T39" fmla="*/ 4275 h 5985"/>
              <a:gd name="T40" fmla="*/ 442 w 5986"/>
              <a:gd name="T41" fmla="*/ 4651 h 5985"/>
              <a:gd name="T42" fmla="*/ 1320 w 5986"/>
              <a:gd name="T43" fmla="*/ 5529 h 5985"/>
              <a:gd name="T44" fmla="*/ 1711 w 5986"/>
              <a:gd name="T45" fmla="*/ 5114 h 5985"/>
              <a:gd name="T46" fmla="*/ 2392 w 5986"/>
              <a:gd name="T47" fmla="*/ 5398 h 5985"/>
              <a:gd name="T48" fmla="*/ 2392 w 5986"/>
              <a:gd name="T49" fmla="*/ 5985 h 5985"/>
              <a:gd name="T50" fmla="*/ 3584 w 5986"/>
              <a:gd name="T51" fmla="*/ 5985 h 5985"/>
              <a:gd name="T52" fmla="*/ 3584 w 5986"/>
              <a:gd name="T53" fmla="*/ 5401 h 5985"/>
              <a:gd name="T54" fmla="*/ 4279 w 5986"/>
              <a:gd name="T55" fmla="*/ 5114 h 5985"/>
              <a:gd name="T56" fmla="*/ 4662 w 5986"/>
              <a:gd name="T57" fmla="*/ 5533 h 5985"/>
              <a:gd name="T58" fmla="*/ 5523 w 5986"/>
              <a:gd name="T59" fmla="*/ 4669 h 5985"/>
              <a:gd name="T60" fmla="*/ 5112 w 5986"/>
              <a:gd name="T61" fmla="*/ 4285 h 5985"/>
              <a:gd name="T62" fmla="*/ 5402 w 5986"/>
              <a:gd name="T63" fmla="*/ 3594 h 5985"/>
              <a:gd name="T64" fmla="*/ 5986 w 5986"/>
              <a:gd name="T65" fmla="*/ 3594 h 5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986" h="5985">
                <a:moveTo>
                  <a:pt x="5986" y="3594"/>
                </a:moveTo>
                <a:cubicBezTo>
                  <a:pt x="5986" y="3193"/>
                  <a:pt x="5986" y="2795"/>
                  <a:pt x="5986" y="2395"/>
                </a:cubicBezTo>
                <a:cubicBezTo>
                  <a:pt x="5789" y="2395"/>
                  <a:pt x="5595" y="2395"/>
                  <a:pt x="5402" y="2395"/>
                </a:cubicBezTo>
                <a:cubicBezTo>
                  <a:pt x="5343" y="2153"/>
                  <a:pt x="5246" y="1925"/>
                  <a:pt x="5122" y="1717"/>
                </a:cubicBezTo>
                <a:cubicBezTo>
                  <a:pt x="5257" y="1589"/>
                  <a:pt x="5395" y="1458"/>
                  <a:pt x="5533" y="1330"/>
                </a:cubicBezTo>
                <a:cubicBezTo>
                  <a:pt x="5232" y="1029"/>
                  <a:pt x="4956" y="753"/>
                  <a:pt x="4666" y="463"/>
                </a:cubicBezTo>
                <a:cubicBezTo>
                  <a:pt x="4541" y="597"/>
                  <a:pt x="4410" y="736"/>
                  <a:pt x="4282" y="870"/>
                </a:cubicBezTo>
                <a:cubicBezTo>
                  <a:pt x="4071" y="743"/>
                  <a:pt x="3836" y="642"/>
                  <a:pt x="3591" y="584"/>
                </a:cubicBezTo>
                <a:cubicBezTo>
                  <a:pt x="3591" y="397"/>
                  <a:pt x="3591" y="197"/>
                  <a:pt x="3591" y="0"/>
                </a:cubicBezTo>
                <a:cubicBezTo>
                  <a:pt x="3190" y="0"/>
                  <a:pt x="2793" y="0"/>
                  <a:pt x="2392" y="0"/>
                </a:cubicBezTo>
                <a:cubicBezTo>
                  <a:pt x="2392" y="197"/>
                  <a:pt x="2392" y="390"/>
                  <a:pt x="2392" y="587"/>
                </a:cubicBezTo>
                <a:cubicBezTo>
                  <a:pt x="2150" y="649"/>
                  <a:pt x="1918" y="746"/>
                  <a:pt x="1711" y="870"/>
                </a:cubicBezTo>
                <a:cubicBezTo>
                  <a:pt x="1586" y="736"/>
                  <a:pt x="1452" y="594"/>
                  <a:pt x="1327" y="456"/>
                </a:cubicBezTo>
                <a:cubicBezTo>
                  <a:pt x="1023" y="753"/>
                  <a:pt x="747" y="1029"/>
                  <a:pt x="453" y="1323"/>
                </a:cubicBezTo>
                <a:cubicBezTo>
                  <a:pt x="588" y="1451"/>
                  <a:pt x="729" y="1582"/>
                  <a:pt x="868" y="1710"/>
                </a:cubicBezTo>
                <a:cubicBezTo>
                  <a:pt x="740" y="1921"/>
                  <a:pt x="646" y="2149"/>
                  <a:pt x="584" y="2395"/>
                </a:cubicBezTo>
                <a:cubicBezTo>
                  <a:pt x="398" y="2395"/>
                  <a:pt x="201" y="2395"/>
                  <a:pt x="0" y="2395"/>
                </a:cubicBezTo>
                <a:cubicBezTo>
                  <a:pt x="0" y="2795"/>
                  <a:pt x="0" y="3183"/>
                  <a:pt x="0" y="3587"/>
                </a:cubicBezTo>
                <a:cubicBezTo>
                  <a:pt x="197" y="3587"/>
                  <a:pt x="391" y="3587"/>
                  <a:pt x="584" y="3587"/>
                </a:cubicBezTo>
                <a:cubicBezTo>
                  <a:pt x="646" y="3832"/>
                  <a:pt x="743" y="4064"/>
                  <a:pt x="871" y="4275"/>
                </a:cubicBezTo>
                <a:cubicBezTo>
                  <a:pt x="733" y="4396"/>
                  <a:pt x="584" y="4527"/>
                  <a:pt x="442" y="4651"/>
                </a:cubicBezTo>
                <a:cubicBezTo>
                  <a:pt x="750" y="4959"/>
                  <a:pt x="1027" y="5235"/>
                  <a:pt x="1320" y="5529"/>
                </a:cubicBezTo>
                <a:cubicBezTo>
                  <a:pt x="1448" y="5391"/>
                  <a:pt x="1583" y="5249"/>
                  <a:pt x="1711" y="5114"/>
                </a:cubicBezTo>
                <a:cubicBezTo>
                  <a:pt x="1918" y="5242"/>
                  <a:pt x="2150" y="5336"/>
                  <a:pt x="2392" y="5398"/>
                </a:cubicBezTo>
                <a:cubicBezTo>
                  <a:pt x="2392" y="5584"/>
                  <a:pt x="2392" y="5781"/>
                  <a:pt x="2392" y="5985"/>
                </a:cubicBezTo>
                <a:cubicBezTo>
                  <a:pt x="2793" y="5985"/>
                  <a:pt x="3180" y="5985"/>
                  <a:pt x="3584" y="5985"/>
                </a:cubicBezTo>
                <a:cubicBezTo>
                  <a:pt x="3584" y="5788"/>
                  <a:pt x="3584" y="5591"/>
                  <a:pt x="3584" y="5401"/>
                </a:cubicBezTo>
                <a:cubicBezTo>
                  <a:pt x="3833" y="5343"/>
                  <a:pt x="4064" y="5242"/>
                  <a:pt x="4279" y="5114"/>
                </a:cubicBezTo>
                <a:cubicBezTo>
                  <a:pt x="4403" y="5253"/>
                  <a:pt x="4534" y="5394"/>
                  <a:pt x="4662" y="5533"/>
                </a:cubicBezTo>
                <a:cubicBezTo>
                  <a:pt x="4956" y="5239"/>
                  <a:pt x="5232" y="4959"/>
                  <a:pt x="5523" y="4669"/>
                </a:cubicBezTo>
                <a:cubicBezTo>
                  <a:pt x="5388" y="4541"/>
                  <a:pt x="5246" y="4409"/>
                  <a:pt x="5112" y="4285"/>
                </a:cubicBezTo>
                <a:cubicBezTo>
                  <a:pt x="5239" y="4074"/>
                  <a:pt x="5340" y="3843"/>
                  <a:pt x="5402" y="3594"/>
                </a:cubicBezTo>
                <a:cubicBezTo>
                  <a:pt x="5588" y="3594"/>
                  <a:pt x="5785" y="3594"/>
                  <a:pt x="5986" y="35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grpSp>
        <p:nvGrpSpPr>
          <p:cNvPr id="46" name="Group 45"/>
          <p:cNvGrpSpPr/>
          <p:nvPr/>
        </p:nvGrpSpPr>
        <p:grpSpPr>
          <a:xfrm>
            <a:off x="5574791" y="5985638"/>
            <a:ext cx="548278" cy="539009"/>
            <a:chOff x="10832823" y="3353836"/>
            <a:chExt cx="537576" cy="528488"/>
          </a:xfrm>
        </p:grpSpPr>
        <p:sp>
          <p:nvSpPr>
            <p:cNvPr id="44" name="Oval 13"/>
            <p:cNvSpPr>
              <a:spLocks noChangeArrowheads="1"/>
            </p:cNvSpPr>
            <p:nvPr/>
          </p:nvSpPr>
          <p:spPr bwMode="auto">
            <a:xfrm>
              <a:off x="10943701" y="3353836"/>
              <a:ext cx="426698" cy="42669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5" name="Freeform 14"/>
            <p:cNvSpPr>
              <a:spLocks/>
            </p:cNvSpPr>
            <p:nvPr/>
          </p:nvSpPr>
          <p:spPr bwMode="auto">
            <a:xfrm>
              <a:off x="10832823" y="3702829"/>
              <a:ext cx="179495" cy="179495"/>
            </a:xfrm>
            <a:custGeom>
              <a:avLst/>
              <a:gdLst>
                <a:gd name="T0" fmla="*/ 1224 w 1980"/>
                <a:gd name="T1" fmla="*/ 0 h 1977"/>
                <a:gd name="T2" fmla="*/ 218 w 1980"/>
                <a:gd name="T3" fmla="*/ 985 h 1977"/>
                <a:gd name="T4" fmla="*/ 211 w 1980"/>
                <a:gd name="T5" fmla="*/ 1752 h 1977"/>
                <a:gd name="T6" fmla="*/ 218 w 1980"/>
                <a:gd name="T7" fmla="*/ 1759 h 1977"/>
                <a:gd name="T8" fmla="*/ 985 w 1980"/>
                <a:gd name="T9" fmla="*/ 1766 h 1977"/>
                <a:gd name="T10" fmla="*/ 1980 w 1980"/>
                <a:gd name="T11" fmla="*/ 788 h 1977"/>
                <a:gd name="T12" fmla="*/ 1224 w 1980"/>
                <a:gd name="T13" fmla="*/ 0 h 1977"/>
              </a:gdLst>
              <a:ahLst/>
              <a:cxnLst>
                <a:cxn ang="0">
                  <a:pos x="T0" y="T1"/>
                </a:cxn>
                <a:cxn ang="0">
                  <a:pos x="T2" y="T3"/>
                </a:cxn>
                <a:cxn ang="0">
                  <a:pos x="T4" y="T5"/>
                </a:cxn>
                <a:cxn ang="0">
                  <a:pos x="T6" y="T7"/>
                </a:cxn>
                <a:cxn ang="0">
                  <a:pos x="T8" y="T9"/>
                </a:cxn>
                <a:cxn ang="0">
                  <a:pos x="T10" y="T11"/>
                </a:cxn>
                <a:cxn ang="0">
                  <a:pos x="T12" y="T13"/>
                </a:cxn>
              </a:cxnLst>
              <a:rect l="0" t="0" r="r" b="b"/>
              <a:pathLst>
                <a:path w="1980" h="1977">
                  <a:moveTo>
                    <a:pt x="1224" y="0"/>
                  </a:moveTo>
                  <a:cubicBezTo>
                    <a:pt x="218" y="985"/>
                    <a:pt x="218" y="985"/>
                    <a:pt x="218" y="985"/>
                  </a:cubicBezTo>
                  <a:cubicBezTo>
                    <a:pt x="4" y="1196"/>
                    <a:pt x="0" y="1538"/>
                    <a:pt x="211" y="1752"/>
                  </a:cubicBezTo>
                  <a:cubicBezTo>
                    <a:pt x="218" y="1759"/>
                    <a:pt x="218" y="1759"/>
                    <a:pt x="218" y="1759"/>
                  </a:cubicBezTo>
                  <a:cubicBezTo>
                    <a:pt x="429" y="1974"/>
                    <a:pt x="771" y="1977"/>
                    <a:pt x="985" y="1766"/>
                  </a:cubicBezTo>
                  <a:cubicBezTo>
                    <a:pt x="1980" y="788"/>
                    <a:pt x="1980" y="788"/>
                    <a:pt x="1980" y="788"/>
                  </a:cubicBezTo>
                  <a:cubicBezTo>
                    <a:pt x="1683" y="581"/>
                    <a:pt x="1424" y="315"/>
                    <a:pt x="122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grpSp>
    </p:spTree>
    <p:custDataLst>
      <p:tags r:id="rId1"/>
    </p:custDataLst>
    <p:extLst>
      <p:ext uri="{BB962C8B-B14F-4D97-AF65-F5344CB8AC3E}">
        <p14:creationId xmlns:p14="http://schemas.microsoft.com/office/powerpoint/2010/main" val="307385596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4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8"/>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4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9"/>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6"/>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8" grpId="0"/>
      <p:bldP spid="9" grpId="0"/>
      <p:bldP spid="10" grpId="0"/>
      <p:bldP spid="40" grpId="0" animBg="1"/>
      <p:bldP spid="41" grpId="0" animBg="1"/>
      <p:bldP spid="42" grpId="0" animBg="1"/>
      <p:bldP spid="43"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a:spLocks/>
          </p:cNvSpPr>
          <p:nvPr/>
        </p:nvSpPr>
        <p:spPr bwMode="auto">
          <a:xfrm>
            <a:off x="8055099" y="1261594"/>
            <a:ext cx="3987958" cy="7965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224" tIns="44611" rIns="89224" bIns="44611" numCol="1" spcCol="0" rtlCol="0" fromWordArt="0" anchor="ctr" anchorCtr="0" forceAA="0" compatLnSpc="1">
            <a:prstTxWarp prst="textNoShape">
              <a:avLst/>
            </a:prstTxWarp>
            <a:noAutofit/>
          </a:bodyPr>
          <a:lstStyle/>
          <a:p>
            <a:pPr marL="0" marR="0" lvl="0" indent="0" algn="r" defTabSz="909375" rtl="0" eaLnBrk="1" fontAlgn="auto" latinLnBrk="0" hangingPunct="1">
              <a:lnSpc>
                <a:spcPct val="100000"/>
              </a:lnSpc>
              <a:spcBef>
                <a:spcPts val="0"/>
              </a:spcBef>
              <a:spcAft>
                <a:spcPts val="0"/>
              </a:spcAft>
              <a:buClrTx/>
              <a:buSzTx/>
              <a:buFontTx/>
              <a:buNone/>
              <a:tabLst/>
              <a:defRPr/>
            </a:pPr>
            <a:endParaRPr kumimoji="0" lang="en-US" sz="1765" b="1" i="0" u="none" strike="noStrike" kern="0" cap="none" spc="0" normalizeH="0" baseline="0" noProof="0">
              <a:ln>
                <a:noFill/>
              </a:ln>
              <a:solidFill>
                <a:srgbClr val="FFB900"/>
              </a:solidFill>
              <a:effectLst/>
              <a:uLnTx/>
              <a:uFillTx/>
              <a:latin typeface="Segoe UI"/>
              <a:ea typeface="+mn-ea"/>
              <a:cs typeface="+mn-cs"/>
            </a:endParaRPr>
          </a:p>
        </p:txBody>
      </p:sp>
      <p:sp>
        <p:nvSpPr>
          <p:cNvPr id="16" name="Rectangle 15"/>
          <p:cNvSpPr>
            <a:spLocks/>
          </p:cNvSpPr>
          <p:nvPr/>
        </p:nvSpPr>
        <p:spPr bwMode="auto">
          <a:xfrm>
            <a:off x="8055099" y="1261594"/>
            <a:ext cx="3987958" cy="7965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224" tIns="44611" rIns="89224" bIns="44611" numCol="1" spcCol="0" rtlCol="0" fromWordArt="0" anchor="ctr" anchorCtr="0" forceAA="0" compatLnSpc="1">
            <a:prstTxWarp prst="textNoShape">
              <a:avLst/>
            </a:prstTxWarp>
            <a:noAutofit/>
          </a:bodyPr>
          <a:lstStyle/>
          <a:p>
            <a:pPr marL="0" marR="0" lvl="0" indent="0" algn="r" defTabSz="909375" rtl="0" eaLnBrk="1" fontAlgn="auto" latinLnBrk="0" hangingPunct="1">
              <a:lnSpc>
                <a:spcPct val="100000"/>
              </a:lnSpc>
              <a:spcBef>
                <a:spcPts val="0"/>
              </a:spcBef>
              <a:spcAft>
                <a:spcPts val="0"/>
              </a:spcAft>
              <a:buClrTx/>
              <a:buSzTx/>
              <a:buFontTx/>
              <a:buNone/>
              <a:tabLst/>
              <a:defRPr/>
            </a:pPr>
            <a:endParaRPr kumimoji="0" lang="en-US" sz="1765" b="1" i="0" u="none" strike="noStrike" kern="0" cap="none" spc="0" normalizeH="0" baseline="0" noProof="0">
              <a:ln>
                <a:noFill/>
              </a:ln>
              <a:solidFill>
                <a:srgbClr val="FFB900"/>
              </a:solidFill>
              <a:effectLst/>
              <a:uLnTx/>
              <a:uFillTx/>
              <a:latin typeface="Segoe UI"/>
              <a:ea typeface="+mn-ea"/>
              <a:cs typeface="+mn-cs"/>
            </a:endParaRPr>
          </a:p>
        </p:txBody>
      </p:sp>
      <p:grpSp>
        <p:nvGrpSpPr>
          <p:cNvPr id="34" name="Group 33"/>
          <p:cNvGrpSpPr/>
          <p:nvPr/>
        </p:nvGrpSpPr>
        <p:grpSpPr>
          <a:xfrm>
            <a:off x="459284" y="3696344"/>
            <a:ext cx="2143454" cy="639988"/>
            <a:chOff x="6827777" y="3802062"/>
            <a:chExt cx="2459932" cy="533400"/>
          </a:xfrm>
          <a:solidFill>
            <a:schemeClr val="tx1"/>
          </a:solidFill>
        </p:grpSpPr>
        <p:sp>
          <p:nvSpPr>
            <p:cNvPr id="37" name="Flowchart: Process 8"/>
            <p:cNvSpPr/>
            <p:nvPr/>
          </p:nvSpPr>
          <p:spPr bwMode="auto">
            <a:xfrm>
              <a:off x="6827777" y="3802062"/>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16" tIns="89616" rIns="33610" bIns="33610" rtlCol="0" anchor="b" anchorCtr="0"/>
            <a:lstStyle/>
            <a:p>
              <a:pPr marL="0" marR="0" lvl="0" indent="0" algn="ctr" defTabSz="91368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36" name="Rectangle 35"/>
            <p:cNvSpPr/>
            <p:nvPr/>
          </p:nvSpPr>
          <p:spPr>
            <a:xfrm>
              <a:off x="7014491" y="3892910"/>
              <a:ext cx="2103108" cy="388654"/>
            </a:xfrm>
            <a:prstGeom prst="rect">
              <a:avLst/>
            </a:prstGeom>
            <a:grpFill/>
            <a:ln w="9525" cap="flat" cmpd="sng" algn="ctr">
              <a:noFill/>
              <a:prstDash val="solid"/>
            </a:ln>
            <a:effectLst/>
          </p:spPr>
          <p:txBody>
            <a:bodyPr lIns="119299" tIns="59648" rIns="119299" bIns="59648" rtlCol="0" anchor="ctr"/>
            <a:lstStyle/>
            <a:p>
              <a:pPr marL="0" marR="0" lvl="0" indent="0" algn="l" defTabSz="896042"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gradFill>
                    <a:gsLst>
                      <a:gs pos="0">
                        <a:srgbClr val="404040"/>
                      </a:gs>
                      <a:gs pos="100000">
                        <a:srgbClr val="404040"/>
                      </a:gs>
                    </a:gsLst>
                    <a:lin ang="5400000" scaled="0"/>
                  </a:gradFill>
                  <a:effectLst/>
                  <a:uLnTx/>
                  <a:uFillTx/>
                  <a:latin typeface="Segoe UI Light"/>
                  <a:ea typeface="+mn-ea"/>
                  <a:cs typeface="+mn-cs"/>
                </a:rPr>
                <a:t>Face</a:t>
              </a:r>
            </a:p>
          </p:txBody>
        </p:sp>
      </p:grpSp>
      <p:grpSp>
        <p:nvGrpSpPr>
          <p:cNvPr id="39" name="Group 38"/>
          <p:cNvGrpSpPr/>
          <p:nvPr/>
        </p:nvGrpSpPr>
        <p:grpSpPr>
          <a:xfrm>
            <a:off x="459284" y="4424010"/>
            <a:ext cx="2141064" cy="639988"/>
            <a:chOff x="6827777" y="3802062"/>
            <a:chExt cx="2459932" cy="533400"/>
          </a:xfrm>
          <a:solidFill>
            <a:schemeClr val="tx1"/>
          </a:solidFill>
        </p:grpSpPr>
        <p:sp>
          <p:nvSpPr>
            <p:cNvPr id="42" name="Flowchart: Process 8"/>
            <p:cNvSpPr/>
            <p:nvPr/>
          </p:nvSpPr>
          <p:spPr bwMode="auto">
            <a:xfrm>
              <a:off x="6827777" y="3802062"/>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16" tIns="89616" rIns="33610" bIns="33610" rtlCol="0" anchor="b" anchorCtr="0"/>
            <a:lstStyle/>
            <a:p>
              <a:pPr marL="0" marR="0" lvl="0" indent="0" algn="ctr" defTabSz="91368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41" name="Rectangle 40"/>
            <p:cNvSpPr/>
            <p:nvPr/>
          </p:nvSpPr>
          <p:spPr>
            <a:xfrm>
              <a:off x="6994719" y="3892910"/>
              <a:ext cx="2122880" cy="388654"/>
            </a:xfrm>
            <a:prstGeom prst="rect">
              <a:avLst/>
            </a:prstGeom>
            <a:grpFill/>
            <a:ln w="9525" cap="flat" cmpd="sng" algn="ctr">
              <a:noFill/>
              <a:prstDash val="solid"/>
            </a:ln>
            <a:effectLst/>
          </p:spPr>
          <p:txBody>
            <a:bodyPr lIns="119299" tIns="59648" rIns="119299" bIns="59648" rtlCol="0" anchor="ctr"/>
            <a:lstStyle/>
            <a:p>
              <a:pPr marL="0" marR="0" lvl="0" indent="0" algn="l" defTabSz="896042"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gradFill>
                    <a:gsLst>
                      <a:gs pos="0">
                        <a:srgbClr val="404040"/>
                      </a:gs>
                      <a:gs pos="100000">
                        <a:srgbClr val="404040"/>
                      </a:gs>
                    </a:gsLst>
                    <a:lin ang="5400000" scaled="0"/>
                  </a:gradFill>
                  <a:effectLst/>
                  <a:uLnTx/>
                  <a:uFillTx/>
                  <a:latin typeface="Segoe UI Light"/>
                  <a:ea typeface="+mn-ea"/>
                  <a:cs typeface="+mn-cs"/>
                </a:rPr>
                <a:t>Video</a:t>
              </a:r>
            </a:p>
          </p:txBody>
        </p:sp>
      </p:grpSp>
      <p:sp>
        <p:nvSpPr>
          <p:cNvPr id="45" name="Right Bracket 44"/>
          <p:cNvSpPr/>
          <p:nvPr/>
        </p:nvSpPr>
        <p:spPr>
          <a:xfrm rot="16200000">
            <a:off x="6055476" y="-3810186"/>
            <a:ext cx="214117" cy="11811002"/>
          </a:xfrm>
          <a:prstGeom prst="rightBracket">
            <a:avLst>
              <a:gd name="adj" fmla="val 78933"/>
            </a:avLst>
          </a:prstGeom>
          <a:ln w="28575"/>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black"/>
              </a:solidFill>
              <a:effectLst/>
              <a:uLnTx/>
              <a:uFillTx/>
              <a:latin typeface="Segoe UI"/>
              <a:ea typeface="+mn-ea"/>
              <a:cs typeface="+mn-cs"/>
            </a:endParaRPr>
          </a:p>
        </p:txBody>
      </p:sp>
      <p:grpSp>
        <p:nvGrpSpPr>
          <p:cNvPr id="71" name="Group 70"/>
          <p:cNvGrpSpPr/>
          <p:nvPr/>
        </p:nvGrpSpPr>
        <p:grpSpPr>
          <a:xfrm>
            <a:off x="463054" y="2202600"/>
            <a:ext cx="2142077" cy="639989"/>
            <a:chOff x="803520" y="1881281"/>
            <a:chExt cx="2219313" cy="640080"/>
          </a:xfrm>
        </p:grpSpPr>
        <p:sp>
          <p:nvSpPr>
            <p:cNvPr id="73" name="Rectangle 72"/>
            <p:cNvSpPr/>
            <p:nvPr/>
          </p:nvSpPr>
          <p:spPr>
            <a:xfrm>
              <a:off x="803520" y="1881281"/>
              <a:ext cx="2219313" cy="640080"/>
            </a:xfrm>
            <a:prstGeom prst="rect">
              <a:avLst/>
            </a:prstGeom>
            <a:solidFill>
              <a:srgbClr val="009580"/>
            </a:solidFill>
            <a:ln w="9525" cap="flat" cmpd="sng" algn="ctr">
              <a:noFill/>
              <a:prstDash val="solid"/>
            </a:ln>
            <a:effectLst/>
          </p:spPr>
          <p:txBody>
            <a:bodyPr lIns="119299" tIns="59648" rIns="119299" bIns="59648"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mn-cs"/>
              </a:endParaRPr>
            </a:p>
          </p:txBody>
        </p:sp>
        <p:sp>
          <p:nvSpPr>
            <p:cNvPr id="74" name="TextBox 73"/>
            <p:cNvSpPr txBox="1"/>
            <p:nvPr/>
          </p:nvSpPr>
          <p:spPr>
            <a:xfrm>
              <a:off x="1227725" y="1886159"/>
              <a:ext cx="1177272" cy="627911"/>
            </a:xfrm>
            <a:prstGeom prst="rect">
              <a:avLst/>
            </a:prstGeom>
            <a:noFill/>
            <a:ln>
              <a:noFill/>
            </a:ln>
          </p:spPr>
          <p:txBody>
            <a:bodyPr wrap="square" lIns="182854" tIns="146283" rIns="182854" bIns="146283" rtlCol="0" anchor="ctr">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Vision</a:t>
              </a:r>
            </a:p>
          </p:txBody>
        </p:sp>
      </p:grpSp>
      <p:sp>
        <p:nvSpPr>
          <p:cNvPr id="101" name="Freeform 22"/>
          <p:cNvSpPr>
            <a:spLocks noChangeAspect="1"/>
          </p:cNvSpPr>
          <p:nvPr/>
        </p:nvSpPr>
        <p:spPr bwMode="auto">
          <a:xfrm>
            <a:off x="550897" y="2408221"/>
            <a:ext cx="365760" cy="242032"/>
          </a:xfrm>
          <a:custGeom>
            <a:avLst/>
            <a:gdLst>
              <a:gd name="T0" fmla="*/ 4942 w 7181"/>
              <a:gd name="T1" fmla="*/ 414 h 4752"/>
              <a:gd name="T2" fmla="*/ 3024 w 7181"/>
              <a:gd name="T3" fmla="*/ 152 h 4752"/>
              <a:gd name="T4" fmla="*/ 0 w 7181"/>
              <a:gd name="T5" fmla="*/ 2353 h 4752"/>
              <a:gd name="T6" fmla="*/ 2201 w 7181"/>
              <a:gd name="T7" fmla="*/ 4282 h 4752"/>
              <a:gd name="T8" fmla="*/ 4848 w 7181"/>
              <a:gd name="T9" fmla="*/ 4351 h 4752"/>
              <a:gd name="T10" fmla="*/ 7102 w 7181"/>
              <a:gd name="T11" fmla="*/ 2474 h 4752"/>
              <a:gd name="T12" fmla="*/ 7181 w 7181"/>
              <a:gd name="T13" fmla="*/ 2350 h 4752"/>
              <a:gd name="T14" fmla="*/ 4942 w 7181"/>
              <a:gd name="T15" fmla="*/ 414 h 47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81" h="4752">
                <a:moveTo>
                  <a:pt x="4942" y="414"/>
                </a:moveTo>
                <a:cubicBezTo>
                  <a:pt x="4333" y="124"/>
                  <a:pt x="3691" y="0"/>
                  <a:pt x="3024" y="152"/>
                </a:cubicBezTo>
                <a:cubicBezTo>
                  <a:pt x="1710" y="456"/>
                  <a:pt x="812" y="1327"/>
                  <a:pt x="0" y="2353"/>
                </a:cubicBezTo>
                <a:cubicBezTo>
                  <a:pt x="608" y="3169"/>
                  <a:pt x="1306" y="3839"/>
                  <a:pt x="2201" y="4282"/>
                </a:cubicBezTo>
                <a:cubicBezTo>
                  <a:pt x="3069" y="4710"/>
                  <a:pt x="3957" y="4752"/>
                  <a:pt x="4848" y="4351"/>
                </a:cubicBezTo>
                <a:cubicBezTo>
                  <a:pt x="5771" y="3932"/>
                  <a:pt x="6490" y="3269"/>
                  <a:pt x="7102" y="2474"/>
                </a:cubicBezTo>
                <a:cubicBezTo>
                  <a:pt x="7129" y="2436"/>
                  <a:pt x="7154" y="2395"/>
                  <a:pt x="7181" y="2350"/>
                </a:cubicBezTo>
                <a:cubicBezTo>
                  <a:pt x="6570" y="1534"/>
                  <a:pt x="5861" y="853"/>
                  <a:pt x="4942" y="41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6" name="Rectangle 95"/>
          <p:cNvSpPr/>
          <p:nvPr/>
        </p:nvSpPr>
        <p:spPr>
          <a:xfrm>
            <a:off x="274639" y="1328270"/>
            <a:ext cx="11889564" cy="568792"/>
          </a:xfrm>
          <a:prstGeom prst="rect">
            <a:avLst/>
          </a:prstGeom>
          <a:solidFill>
            <a:schemeClr val="tx1"/>
          </a:solidFill>
          <a:ln w="25400" cap="flat" cmpd="sng" algn="ctr">
            <a:noFill/>
            <a:prstDash val="solid"/>
          </a:ln>
          <a:effectLst/>
        </p:spPr>
        <p:txBody>
          <a:bodyPr lIns="119315" tIns="59657" rIns="119315" bIns="59657"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defTabSz="896214">
              <a:defRPr/>
            </a:pPr>
            <a:r>
              <a:rPr lang="en-US" sz="3600" dirty="0">
                <a:solidFill>
                  <a:schemeClr val="bg1"/>
                </a:solidFill>
              </a:rPr>
              <a:t>Cognitive Services – Vision APIs</a:t>
            </a:r>
            <a:endParaRPr kumimoji="0" lang="en-US" sz="3400" b="1" i="0" u="none" strike="noStrike" kern="0" cap="none" spc="0" normalizeH="0" baseline="0" noProof="0" dirty="0">
              <a:ln>
                <a:noFill/>
              </a:ln>
              <a:solidFill>
                <a:schemeClr val="bg1"/>
              </a:solidFill>
              <a:effectLst/>
              <a:uLnTx/>
              <a:uFillTx/>
              <a:latin typeface="Segoe UI Light"/>
            </a:endParaRPr>
          </a:p>
        </p:txBody>
      </p:sp>
      <p:sp>
        <p:nvSpPr>
          <p:cNvPr id="126" name="Rectangle 125"/>
          <p:cNvSpPr/>
          <p:nvPr/>
        </p:nvSpPr>
        <p:spPr>
          <a:xfrm>
            <a:off x="274639" y="2044305"/>
            <a:ext cx="2552232" cy="4653357"/>
          </a:xfrm>
          <a:prstGeom prst="rect">
            <a:avLst/>
          </a:prstGeom>
          <a:noFill/>
          <a:ln>
            <a:solidFill>
              <a:schemeClr val="tx2">
                <a:lumMod val="40000"/>
                <a:lumOff val="6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lIns="121725" tIns="60862" rIns="121725" bIns="60862"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35" name="Group 34">
            <a:extLst>
              <a:ext uri="{FF2B5EF4-FFF2-40B4-BE49-F238E27FC236}">
                <a16:creationId xmlns:a16="http://schemas.microsoft.com/office/drawing/2014/main" id="{2AB14589-8108-49D6-BEE9-793BC26398AE}"/>
              </a:ext>
            </a:extLst>
          </p:cNvPr>
          <p:cNvGrpSpPr/>
          <p:nvPr/>
        </p:nvGrpSpPr>
        <p:grpSpPr>
          <a:xfrm>
            <a:off x="475947" y="5178566"/>
            <a:ext cx="2142075" cy="639988"/>
            <a:chOff x="6827776" y="3192468"/>
            <a:chExt cx="2459933" cy="533401"/>
          </a:xfrm>
          <a:solidFill>
            <a:srgbClr val="0070C0"/>
          </a:solidFill>
        </p:grpSpPr>
        <p:sp>
          <p:nvSpPr>
            <p:cNvPr id="38" name="Flowchart: Process 8">
              <a:extLst>
                <a:ext uri="{FF2B5EF4-FFF2-40B4-BE49-F238E27FC236}">
                  <a16:creationId xmlns:a16="http://schemas.microsoft.com/office/drawing/2014/main" id="{819B28CB-C688-468C-8FE2-0EDBC39DE7F8}"/>
                </a:ext>
              </a:extLst>
            </p:cNvPr>
            <p:cNvSpPr/>
            <p:nvPr/>
          </p:nvSpPr>
          <p:spPr bwMode="auto">
            <a:xfrm>
              <a:off x="6827776" y="3192468"/>
              <a:ext cx="2459933" cy="53340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16" tIns="89616" rIns="33610" bIns="33610" rtlCol="0" anchor="b" anchorCtr="0"/>
            <a:lstStyle/>
            <a:p>
              <a:pPr marL="0" marR="0" lvl="0" indent="0" algn="ctr" defTabSz="91368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40" name="Rectangle 39">
              <a:extLst>
                <a:ext uri="{FF2B5EF4-FFF2-40B4-BE49-F238E27FC236}">
                  <a16:creationId xmlns:a16="http://schemas.microsoft.com/office/drawing/2014/main" id="{3391F011-1A69-4E4D-BD24-166F79DC5943}"/>
                </a:ext>
              </a:extLst>
            </p:cNvPr>
            <p:cNvSpPr/>
            <p:nvPr/>
          </p:nvSpPr>
          <p:spPr>
            <a:xfrm>
              <a:off x="6986793" y="3268665"/>
              <a:ext cx="2130806" cy="388654"/>
            </a:xfrm>
            <a:prstGeom prst="rect">
              <a:avLst/>
            </a:prstGeom>
            <a:grpFill/>
            <a:ln w="9525" cap="flat" cmpd="sng" algn="ctr">
              <a:noFill/>
              <a:prstDash val="solid"/>
            </a:ln>
            <a:effectLst/>
          </p:spPr>
          <p:txBody>
            <a:bodyPr lIns="119299" tIns="59648" rIns="119299" bIns="59648" rtlCol="0" anchor="ctr"/>
            <a:lstStyle/>
            <a:p>
              <a:pPr marL="0" marR="0" lvl="0" indent="0" algn="l" defTabSz="896042"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Segoe UI Light"/>
                  <a:ea typeface="+mn-ea"/>
                  <a:cs typeface="+mn-cs"/>
                </a:rPr>
                <a:t>Custom Vision</a:t>
              </a:r>
            </a:p>
          </p:txBody>
        </p:sp>
      </p:grpSp>
      <p:grpSp>
        <p:nvGrpSpPr>
          <p:cNvPr id="43" name="Group 42">
            <a:extLst>
              <a:ext uri="{FF2B5EF4-FFF2-40B4-BE49-F238E27FC236}">
                <a16:creationId xmlns:a16="http://schemas.microsoft.com/office/drawing/2014/main" id="{BE5D5105-3E44-4ECC-A25E-51545D24F43B}"/>
              </a:ext>
            </a:extLst>
          </p:cNvPr>
          <p:cNvGrpSpPr/>
          <p:nvPr/>
        </p:nvGrpSpPr>
        <p:grpSpPr>
          <a:xfrm>
            <a:off x="461675" y="2925408"/>
            <a:ext cx="2141063" cy="639988"/>
            <a:chOff x="6827777" y="4411662"/>
            <a:chExt cx="2459932" cy="533400"/>
          </a:xfrm>
          <a:solidFill>
            <a:schemeClr val="tx1"/>
          </a:solidFill>
        </p:grpSpPr>
        <p:sp>
          <p:nvSpPr>
            <p:cNvPr id="44" name="Flowchart: Process 8">
              <a:extLst>
                <a:ext uri="{FF2B5EF4-FFF2-40B4-BE49-F238E27FC236}">
                  <a16:creationId xmlns:a16="http://schemas.microsoft.com/office/drawing/2014/main" id="{F6E1AB3C-3AE2-4B46-8703-C19034A43B3E}"/>
                </a:ext>
              </a:extLst>
            </p:cNvPr>
            <p:cNvSpPr/>
            <p:nvPr/>
          </p:nvSpPr>
          <p:spPr bwMode="auto">
            <a:xfrm>
              <a:off x="6827777" y="4411662"/>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16" tIns="89616" rIns="33610" bIns="33610" rtlCol="0" anchor="b" anchorCtr="0"/>
            <a:lstStyle/>
            <a:p>
              <a:pPr marL="0" marR="0" lvl="0" indent="0" algn="ctr" defTabSz="91368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46" name="Rectangle 45">
              <a:extLst>
                <a:ext uri="{FF2B5EF4-FFF2-40B4-BE49-F238E27FC236}">
                  <a16:creationId xmlns:a16="http://schemas.microsoft.com/office/drawing/2014/main" id="{8B471E61-661E-47D0-912B-774C595982A0}"/>
                </a:ext>
              </a:extLst>
            </p:cNvPr>
            <p:cNvSpPr/>
            <p:nvPr/>
          </p:nvSpPr>
          <p:spPr>
            <a:xfrm>
              <a:off x="6996044" y="4520801"/>
              <a:ext cx="2121554" cy="329012"/>
            </a:xfrm>
            <a:prstGeom prst="rect">
              <a:avLst/>
            </a:prstGeom>
            <a:grpFill/>
            <a:ln w="9525" cap="flat" cmpd="sng" algn="ctr">
              <a:noFill/>
              <a:prstDash val="solid"/>
            </a:ln>
            <a:effectLst/>
          </p:spPr>
          <p:txBody>
            <a:bodyPr lIns="119299" tIns="59648" rIns="119299" bIns="59648" rtlCol="0" anchor="ctr"/>
            <a:lstStyle/>
            <a:p>
              <a:pPr marL="0" marR="0" lvl="0" indent="0" algn="l" defTabSz="896042"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gradFill>
                    <a:gsLst>
                      <a:gs pos="0">
                        <a:srgbClr val="404040"/>
                      </a:gs>
                      <a:gs pos="100000">
                        <a:srgbClr val="404040"/>
                      </a:gs>
                    </a:gsLst>
                    <a:lin ang="5400000" scaled="0"/>
                  </a:gradFill>
                  <a:effectLst/>
                  <a:uLnTx/>
                  <a:uFillTx/>
                  <a:latin typeface="Segoe UI Light"/>
                  <a:ea typeface="+mn-ea"/>
                  <a:cs typeface="+mn-cs"/>
                </a:rPr>
                <a:t>Computer Vision</a:t>
              </a:r>
            </a:p>
          </p:txBody>
        </p:sp>
      </p:grpSp>
      <p:pic>
        <p:nvPicPr>
          <p:cNvPr id="4" name="Picture 3">
            <a:extLst>
              <a:ext uri="{FF2B5EF4-FFF2-40B4-BE49-F238E27FC236}">
                <a16:creationId xmlns:a16="http://schemas.microsoft.com/office/drawing/2014/main" id="{79D79A0E-D1D8-4A49-A27C-7F0FD7947227}"/>
              </a:ext>
            </a:extLst>
          </p:cNvPr>
          <p:cNvPicPr>
            <a:picLocks noChangeAspect="1"/>
          </p:cNvPicPr>
          <p:nvPr/>
        </p:nvPicPr>
        <p:blipFill>
          <a:blip r:embed="rId4"/>
          <a:stretch>
            <a:fillRect/>
          </a:stretch>
        </p:blipFill>
        <p:spPr>
          <a:xfrm>
            <a:off x="2914714" y="2400650"/>
            <a:ext cx="4442976" cy="3787164"/>
          </a:xfrm>
          <a:prstGeom prst="rect">
            <a:avLst/>
          </a:prstGeom>
        </p:spPr>
      </p:pic>
      <p:pic>
        <p:nvPicPr>
          <p:cNvPr id="5" name="Picture 4">
            <a:extLst>
              <a:ext uri="{FF2B5EF4-FFF2-40B4-BE49-F238E27FC236}">
                <a16:creationId xmlns:a16="http://schemas.microsoft.com/office/drawing/2014/main" id="{7EA47C9F-5AC9-4CBD-9EFD-F552D8A8203A}"/>
              </a:ext>
            </a:extLst>
          </p:cNvPr>
          <p:cNvPicPr>
            <a:picLocks noChangeAspect="1"/>
          </p:cNvPicPr>
          <p:nvPr/>
        </p:nvPicPr>
        <p:blipFill>
          <a:blip r:embed="rId5"/>
          <a:stretch>
            <a:fillRect/>
          </a:stretch>
        </p:blipFill>
        <p:spPr>
          <a:xfrm>
            <a:off x="7445533" y="2408221"/>
            <a:ext cx="4925180" cy="3800259"/>
          </a:xfrm>
          <a:prstGeom prst="rect">
            <a:avLst/>
          </a:prstGeom>
        </p:spPr>
      </p:pic>
      <p:sp>
        <p:nvSpPr>
          <p:cNvPr id="3" name="Title 2">
            <a:extLst>
              <a:ext uri="{FF2B5EF4-FFF2-40B4-BE49-F238E27FC236}">
                <a16:creationId xmlns:a16="http://schemas.microsoft.com/office/drawing/2014/main" id="{42381F6D-E26A-4AE7-9409-3732E743D683}"/>
              </a:ext>
            </a:extLst>
          </p:cNvPr>
          <p:cNvSpPr>
            <a:spLocks noGrp="1"/>
          </p:cNvSpPr>
          <p:nvPr>
            <p:ph type="title"/>
          </p:nvPr>
        </p:nvSpPr>
        <p:spPr/>
        <p:txBody>
          <a:bodyPr/>
          <a:lstStyle/>
          <a:p>
            <a:endParaRPr lang="en-GB"/>
          </a:p>
        </p:txBody>
      </p:sp>
    </p:spTree>
    <p:custDataLst>
      <p:tags r:id="rId1"/>
    </p:custDataLst>
    <p:extLst>
      <p:ext uri="{BB962C8B-B14F-4D97-AF65-F5344CB8AC3E}">
        <p14:creationId xmlns:p14="http://schemas.microsoft.com/office/powerpoint/2010/main" val="40246723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74069" y="1266911"/>
            <a:ext cx="7295745" cy="899167"/>
          </a:xfrm>
        </p:spPr>
        <p:txBody>
          <a:bodyPr vert="horz" wrap="square" lIns="146283" tIns="91428" rIns="146283" bIns="91428" numCol="1" rtlCol="0" anchor="t" anchorCtr="0" compatLnSpc="1">
            <a:prstTxWarp prst="textNoShape">
              <a:avLst/>
            </a:prstTxWarp>
            <a:noAutofit/>
          </a:bodyPr>
          <a:lstStyle/>
          <a:p>
            <a:pPr algn="l"/>
            <a:r>
              <a:rPr lang="en-US" sz="4399" dirty="0">
                <a:solidFill>
                  <a:schemeClr val="tx1">
                    <a:lumMod val="75000"/>
                  </a:schemeClr>
                </a:solidFill>
              </a:rPr>
              <a:t>Custom Vision website</a:t>
            </a:r>
            <a:endParaRPr lang="en-US" sz="4399" dirty="0">
              <a:solidFill>
                <a:srgbClr val="00B050"/>
              </a:solidFill>
            </a:endParaRPr>
          </a:p>
        </p:txBody>
      </p:sp>
      <p:pic>
        <p:nvPicPr>
          <p:cNvPr id="11" name="Picture 10">
            <a:extLst>
              <a:ext uri="{FF2B5EF4-FFF2-40B4-BE49-F238E27FC236}">
                <a16:creationId xmlns:a16="http://schemas.microsoft.com/office/drawing/2014/main" id="{0DD9A341-DE50-4C79-AD5D-6B942A119D68}"/>
              </a:ext>
            </a:extLst>
          </p:cNvPr>
          <p:cNvPicPr>
            <a:picLocks noChangeAspect="1"/>
          </p:cNvPicPr>
          <p:nvPr/>
        </p:nvPicPr>
        <p:blipFill>
          <a:blip r:embed="rId4"/>
          <a:stretch>
            <a:fillRect/>
          </a:stretch>
        </p:blipFill>
        <p:spPr>
          <a:xfrm>
            <a:off x="1810562" y="2443397"/>
            <a:ext cx="8944881" cy="4551128"/>
          </a:xfrm>
          <a:prstGeom prst="rect">
            <a:avLst/>
          </a:prstGeom>
        </p:spPr>
      </p:pic>
    </p:spTree>
    <p:custDataLst>
      <p:tags r:id="rId1"/>
    </p:custDataLst>
    <p:extLst>
      <p:ext uri="{BB962C8B-B14F-4D97-AF65-F5344CB8AC3E}">
        <p14:creationId xmlns:p14="http://schemas.microsoft.com/office/powerpoint/2010/main" val="3782478199"/>
      </p:ext>
    </p:extLst>
  </p:cSld>
  <p:clrMapOvr>
    <a:masterClrMapping/>
  </p:clrMapOvr>
  <p:transition spd="slow">
    <p:wip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454289"/>
            <a:ext cx="9438953" cy="892128"/>
          </a:xfrm>
        </p:spPr>
        <p:txBody>
          <a:bodyPr vert="horz" wrap="square" lIns="146283" tIns="91428" rIns="146283" bIns="91428" numCol="1" rtlCol="0" anchor="t" anchorCtr="0" compatLnSpc="1">
            <a:prstTxWarp prst="textNoShape">
              <a:avLst/>
            </a:prstTxWarp>
            <a:noAutofit/>
          </a:bodyPr>
          <a:lstStyle/>
          <a:p>
            <a:pPr algn="l"/>
            <a:r>
              <a:rPr lang="en-US" sz="4399" dirty="0">
                <a:solidFill>
                  <a:schemeClr val="tx1">
                    <a:lumMod val="75000"/>
                  </a:schemeClr>
                </a:solidFill>
              </a:rPr>
              <a:t>Custom Vision Client Library’s</a:t>
            </a:r>
            <a:endParaRPr lang="en-US" sz="4399" dirty="0">
              <a:solidFill>
                <a:srgbClr val="00B050"/>
              </a:solidFill>
            </a:endParaRPr>
          </a:p>
        </p:txBody>
      </p:sp>
      <p:pic>
        <p:nvPicPr>
          <p:cNvPr id="6" name="Picture 5">
            <a:extLst>
              <a:ext uri="{FF2B5EF4-FFF2-40B4-BE49-F238E27FC236}">
                <a16:creationId xmlns:a16="http://schemas.microsoft.com/office/drawing/2014/main" id="{EAB72AE2-AFEE-4372-B7B6-BE249A9AEA9C}"/>
              </a:ext>
            </a:extLst>
          </p:cNvPr>
          <p:cNvPicPr>
            <a:picLocks noChangeAspect="1"/>
          </p:cNvPicPr>
          <p:nvPr/>
        </p:nvPicPr>
        <p:blipFill>
          <a:blip r:embed="rId4"/>
          <a:stretch>
            <a:fillRect/>
          </a:stretch>
        </p:blipFill>
        <p:spPr>
          <a:xfrm>
            <a:off x="545454" y="2713676"/>
            <a:ext cx="5795606" cy="2962297"/>
          </a:xfrm>
          <a:prstGeom prst="rect">
            <a:avLst/>
          </a:prstGeom>
        </p:spPr>
      </p:pic>
      <p:pic>
        <p:nvPicPr>
          <p:cNvPr id="5" name="Picture 4">
            <a:extLst>
              <a:ext uri="{FF2B5EF4-FFF2-40B4-BE49-F238E27FC236}">
                <a16:creationId xmlns:a16="http://schemas.microsoft.com/office/drawing/2014/main" id="{B5C8C7F4-0E74-4EEA-9FBA-44E7CE8D36D4}"/>
              </a:ext>
            </a:extLst>
          </p:cNvPr>
          <p:cNvPicPr>
            <a:picLocks noChangeAspect="1"/>
          </p:cNvPicPr>
          <p:nvPr/>
        </p:nvPicPr>
        <p:blipFill>
          <a:blip r:embed="rId5"/>
          <a:stretch>
            <a:fillRect/>
          </a:stretch>
        </p:blipFill>
        <p:spPr>
          <a:xfrm>
            <a:off x="6218237" y="3582067"/>
            <a:ext cx="5821207" cy="2962297"/>
          </a:xfrm>
          <a:prstGeom prst="rect">
            <a:avLst/>
          </a:prstGeom>
        </p:spPr>
      </p:pic>
    </p:spTree>
    <p:custDataLst>
      <p:tags r:id="rId1"/>
    </p:custDataLst>
    <p:extLst>
      <p:ext uri="{BB962C8B-B14F-4D97-AF65-F5344CB8AC3E}">
        <p14:creationId xmlns:p14="http://schemas.microsoft.com/office/powerpoint/2010/main" val="4140649061"/>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74638" y="449706"/>
            <a:ext cx="11887200" cy="5419945"/>
          </a:xfrm>
        </p:spPr>
        <p:txBody>
          <a:bodyPr/>
          <a:lstStyle/>
          <a:p>
            <a:pPr algn="ctr"/>
            <a:r>
              <a:rPr lang="en-GB" dirty="0"/>
              <a:t>Thank you</a:t>
            </a:r>
            <a:br>
              <a:rPr lang="en-GB" dirty="0"/>
            </a:br>
            <a:br>
              <a:rPr lang="en-GB" dirty="0"/>
            </a:br>
            <a:r>
              <a:rPr lang="en-GB" dirty="0"/>
              <a:t>@</a:t>
            </a:r>
            <a:r>
              <a:rPr lang="en-GB" dirty="0" err="1"/>
              <a:t>ctesta_oneill</a:t>
            </a:r>
            <a:br>
              <a:rPr lang="en-GB" dirty="0"/>
            </a:br>
            <a:r>
              <a:rPr lang="en-GB" sz="5400" dirty="0"/>
              <a:t>https://www.linkedin.com/in/ctestaoneill/</a:t>
            </a:r>
            <a:br>
              <a:rPr lang="en-GB" sz="5400" dirty="0"/>
            </a:br>
            <a:br>
              <a:rPr lang="en-GB" sz="5400" dirty="0"/>
            </a:br>
            <a:r>
              <a:rPr lang="en-GB" sz="5400" dirty="0"/>
              <a:t>http://learnanalytics.microsoft.com/</a:t>
            </a:r>
          </a:p>
        </p:txBody>
      </p:sp>
    </p:spTree>
    <p:custDataLst>
      <p:tags r:id="rId1"/>
    </p:custDataLst>
    <p:extLst>
      <p:ext uri="{BB962C8B-B14F-4D97-AF65-F5344CB8AC3E}">
        <p14:creationId xmlns:p14="http://schemas.microsoft.com/office/powerpoint/2010/main" val="3284590066"/>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85589" y="1337022"/>
            <a:ext cx="11881320" cy="3970318"/>
          </a:xfrm>
          <a:prstGeom prst="rect">
            <a:avLst/>
          </a:prstGeom>
        </p:spPr>
        <p:txBody>
          <a:bodyPr wrap="square">
            <a:spAutoFit/>
          </a:bodyPr>
          <a:lstStyle/>
          <a:p>
            <a:pPr>
              <a:spcAft>
                <a:spcPts val="0"/>
              </a:spcAft>
            </a:pPr>
            <a:r>
              <a:rPr lang="en-US" sz="1200" dirty="0">
                <a:latin typeface="Arial" panose="020B0604020202020204" pitchFamily="34" charset="0"/>
                <a:ea typeface="Times New Roman" panose="02020603050405020304" pitchFamily="18" charset="0"/>
              </a:rPr>
              <a:t>Information in this document, including URL and other Internet Web site references, is subject to change without notice.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endParaRPr lang="en-GB" sz="1200" dirty="0">
              <a:latin typeface="Times New Roman" panose="02020603050405020304" pitchFamily="18" charset="0"/>
              <a:ea typeface="Times New Roman" panose="02020603050405020304" pitchFamily="18" charset="0"/>
            </a:endParaRPr>
          </a:p>
          <a:p>
            <a:pPr>
              <a:spcAft>
                <a:spcPts val="0"/>
              </a:spcAft>
            </a:pPr>
            <a:r>
              <a:rPr lang="en-US" sz="1200" dirty="0">
                <a:latin typeface="Arial" panose="020B0604020202020204" pitchFamily="34" charset="0"/>
                <a:ea typeface="Times New Roman" panose="02020603050405020304" pitchFamily="18" charset="0"/>
              </a:rPr>
              <a:t> </a:t>
            </a:r>
            <a:endParaRPr lang="en-GB" sz="1200" dirty="0">
              <a:latin typeface="Times New Roman" panose="02020603050405020304" pitchFamily="18" charset="0"/>
              <a:ea typeface="Times New Roman" panose="02020603050405020304" pitchFamily="18" charset="0"/>
            </a:endParaRPr>
          </a:p>
          <a:p>
            <a:pPr>
              <a:spcAft>
                <a:spcPts val="0"/>
              </a:spcAft>
            </a:pPr>
            <a:r>
              <a:rPr lang="en-US" sz="1200" dirty="0">
                <a:latin typeface="Arial" panose="020B0604020202020204" pitchFamily="34" charset="0"/>
                <a:ea typeface="Times New Roman" panose="02020603050405020304" pitchFamily="18" charset="0"/>
              </a:rPr>
              <a:t>For more information, see </a:t>
            </a:r>
            <a:r>
              <a:rPr lang="en-US" sz="1200" b="1" dirty="0">
                <a:latin typeface="Arial" panose="020B0604020202020204" pitchFamily="34" charset="0"/>
                <a:ea typeface="Times New Roman" panose="02020603050405020304" pitchFamily="18" charset="0"/>
              </a:rPr>
              <a:t>Microsoft Copyright Permissions</a:t>
            </a:r>
            <a:r>
              <a:rPr lang="en-US" sz="1200" dirty="0">
                <a:latin typeface="Arial" panose="020B0604020202020204" pitchFamily="34" charset="0"/>
                <a:ea typeface="Times New Roman" panose="02020603050405020304" pitchFamily="18" charset="0"/>
              </a:rPr>
              <a:t> at </a:t>
            </a:r>
            <a:r>
              <a:rPr lang="en-US" sz="1200" b="1" u="sng" dirty="0">
                <a:solidFill>
                  <a:srgbClr val="0000FF"/>
                </a:solidFill>
                <a:latin typeface="Arial" panose="020B0604020202020204" pitchFamily="34" charset="0"/>
                <a:ea typeface="Times New Roman" panose="02020603050405020304" pitchFamily="18" charset="0"/>
                <a:hlinkClick r:id="rId4"/>
              </a:rPr>
              <a:t>http://www.microsoft.com/permission</a:t>
            </a:r>
            <a:endParaRPr lang="en-GB" sz="1200" dirty="0">
              <a:latin typeface="Times New Roman" panose="02020603050405020304" pitchFamily="18" charset="0"/>
              <a:ea typeface="Times New Roman" panose="02020603050405020304" pitchFamily="18" charset="0"/>
            </a:endParaRPr>
          </a:p>
          <a:p>
            <a:pPr>
              <a:spcAft>
                <a:spcPts val="0"/>
              </a:spcAft>
            </a:pPr>
            <a:r>
              <a:rPr lang="en-US" sz="1200" dirty="0">
                <a:latin typeface="Arial" panose="020B0604020202020204" pitchFamily="34" charset="0"/>
                <a:ea typeface="Times New Roman" panose="02020603050405020304" pitchFamily="18" charset="0"/>
              </a:rPr>
              <a:t> </a:t>
            </a:r>
            <a:endParaRPr lang="en-GB" sz="1200" dirty="0">
              <a:latin typeface="Times New Roman" panose="02020603050405020304" pitchFamily="18" charset="0"/>
              <a:ea typeface="Times New Roman" panose="02020603050405020304" pitchFamily="18" charset="0"/>
            </a:endParaRPr>
          </a:p>
          <a:p>
            <a:pPr>
              <a:spcAft>
                <a:spcPts val="0"/>
              </a:spcAft>
            </a:pPr>
            <a:r>
              <a:rPr lang="en-US" sz="1200" dirty="0">
                <a:latin typeface="Arial" panose="020B0604020202020204" pitchFamily="34" charset="0"/>
                <a:ea typeface="Times New Roman" panose="02020603050405020304" pitchFamily="18" charset="0"/>
              </a:rPr>
              <a:t>Microsoft may have patents, patent applications, trademarks, copyrights, or other intellectual property rights covering subject matter in this document. Except as expressly provided in any written license agreement from Microsoft, the furnishing of this document does not give you any license to these patents, trademarks, copyrights, or other intellectual property.</a:t>
            </a:r>
            <a:endParaRPr lang="en-GB" sz="1200" dirty="0">
              <a:latin typeface="Times New Roman" panose="02020603050405020304" pitchFamily="18" charset="0"/>
              <a:ea typeface="Times New Roman" panose="02020603050405020304" pitchFamily="18" charset="0"/>
            </a:endParaRPr>
          </a:p>
          <a:p>
            <a:pPr>
              <a:spcAft>
                <a:spcPts val="0"/>
              </a:spcAft>
            </a:pPr>
            <a:r>
              <a:rPr lang="en-US" sz="1200" dirty="0">
                <a:latin typeface="Arial" panose="020B0604020202020204" pitchFamily="34" charset="0"/>
                <a:ea typeface="Times New Roman" panose="02020603050405020304" pitchFamily="18" charset="0"/>
              </a:rPr>
              <a:t>The Microsoft company name and Microsoft products mentioned herein may be either registered trademarks or trademarks of Microsoft Corporation in the United States and/or other countries. The names of actual companies and products mentioned herein may be the trademarks of their respective owners.</a:t>
            </a:r>
            <a:endParaRPr lang="en-GB" sz="1200" dirty="0">
              <a:latin typeface="Times New Roman" panose="02020603050405020304" pitchFamily="18" charset="0"/>
              <a:ea typeface="Times New Roman" panose="02020603050405020304" pitchFamily="18" charset="0"/>
            </a:endParaRPr>
          </a:p>
          <a:p>
            <a:pPr>
              <a:spcAft>
                <a:spcPts val="0"/>
              </a:spcAft>
            </a:pPr>
            <a:r>
              <a:rPr lang="en-US" sz="1200" b="1" dirty="0">
                <a:latin typeface="Arial" panose="020B0604020202020204" pitchFamily="34" charset="0"/>
                <a:ea typeface="Times New Roman" panose="02020603050405020304" pitchFamily="18" charset="0"/>
              </a:rPr>
              <a:t> </a:t>
            </a:r>
            <a:endParaRPr lang="en-GB" sz="1200" dirty="0">
              <a:latin typeface="Times New Roman" panose="02020603050405020304" pitchFamily="18" charset="0"/>
              <a:ea typeface="Times New Roman" panose="02020603050405020304" pitchFamily="18" charset="0"/>
            </a:endParaRPr>
          </a:p>
          <a:p>
            <a:pPr>
              <a:spcAft>
                <a:spcPts val="0"/>
              </a:spcAft>
            </a:pPr>
            <a:r>
              <a:rPr lang="en-US" sz="1200" b="1" dirty="0">
                <a:latin typeface="Arial" panose="020B0604020202020204" pitchFamily="34" charset="0"/>
                <a:ea typeface="Times New Roman" panose="02020603050405020304" pitchFamily="18" charset="0"/>
              </a:rPr>
              <a:t>This document reflects current views and assumptions as of the date of development and is subject to change.  Actual and future results and trends may differ materially from any forward-looking statements.  Microsoft assumes no responsibility for errors or omissions in the materials. </a:t>
            </a:r>
            <a:br>
              <a:rPr lang="en-US" sz="1200" b="1" dirty="0">
                <a:latin typeface="Arial" panose="020B0604020202020204" pitchFamily="34" charset="0"/>
                <a:ea typeface="Times New Roman" panose="02020603050405020304" pitchFamily="18" charset="0"/>
              </a:rPr>
            </a:br>
            <a:r>
              <a:rPr lang="en-US" sz="1200" b="1" dirty="0">
                <a:latin typeface="Arial" panose="020B0604020202020204" pitchFamily="34" charset="0"/>
                <a:ea typeface="Times New Roman" panose="02020603050405020304" pitchFamily="18" charset="0"/>
              </a:rPr>
              <a:t> </a:t>
            </a:r>
            <a:endParaRPr lang="en-GB" sz="1200" dirty="0">
              <a:latin typeface="Times New Roman" panose="02020603050405020304" pitchFamily="18" charset="0"/>
              <a:ea typeface="Times New Roman" panose="02020603050405020304" pitchFamily="18" charset="0"/>
            </a:endParaRPr>
          </a:p>
          <a:p>
            <a:pPr>
              <a:spcAft>
                <a:spcPts val="0"/>
              </a:spcAft>
            </a:pPr>
            <a:r>
              <a:rPr lang="en-US" sz="1200" b="1" dirty="0">
                <a:latin typeface="Arial" panose="020B0604020202020204" pitchFamily="34" charset="0"/>
                <a:ea typeface="Times New Roman" panose="02020603050405020304" pitchFamily="18" charset="0"/>
              </a:rPr>
              <a:t>THIS DOCUMENT IS FOR INFORMATIONAL AND TRAINING PURPOSES ONLY AND IS PROVIDED "AS IS" WITHOUT WARRANTY OF ANY KIND, WHETHER EXPRESS OR IMPLIED, INCLUDING BUT NOT LIMITED TO THE IMPLIED WARRANTIES OF MERCHANTABILITY, FITNESS FOR A PARTICULAR PURPOSE, AND NON-INFRINGEMENT.</a:t>
            </a:r>
            <a:endParaRPr lang="en-GB" sz="1200" dirty="0">
              <a:effectLst/>
              <a:latin typeface="Times New Roman" panose="02020603050405020304" pitchFamily="18" charset="0"/>
              <a:ea typeface="Times New Roman" panose="02020603050405020304" pitchFamily="18" charset="0"/>
            </a:endParaRPr>
          </a:p>
        </p:txBody>
      </p:sp>
    </p:spTree>
    <p:custDataLst>
      <p:tags r:id="rId1"/>
    </p:custDataLst>
    <p:extLst>
      <p:ext uri="{BB962C8B-B14F-4D97-AF65-F5344CB8AC3E}">
        <p14:creationId xmlns:p14="http://schemas.microsoft.com/office/powerpoint/2010/main" val="1692155651"/>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4">
            <a:extLst>
              <a:ext uri="{28A0092B-C50C-407E-A947-70E740481C1C}">
                <a14:useLocalDpi xmlns:a14="http://schemas.microsoft.com/office/drawing/2010/main" val="0"/>
              </a:ext>
            </a:extLst>
          </a:blip>
          <a:srcRect l="-98" t="28636" r="709" b="26448"/>
          <a:stretch/>
        </p:blipFill>
        <p:spPr>
          <a:xfrm>
            <a:off x="-11390" y="0"/>
            <a:ext cx="12446983" cy="3749878"/>
          </a:xfrm>
          <a:prstGeom prst="rect">
            <a:avLst/>
          </a:prstGeom>
        </p:spPr>
      </p:pic>
      <p:sp>
        <p:nvSpPr>
          <p:cNvPr id="29" name="Rectangle 28"/>
          <p:cNvSpPr/>
          <p:nvPr/>
        </p:nvSpPr>
        <p:spPr bwMode="auto">
          <a:xfrm>
            <a:off x="881" y="-1"/>
            <a:ext cx="12446983" cy="3757021"/>
          </a:xfrm>
          <a:prstGeom prst="rect">
            <a:avLst/>
          </a:prstGeom>
          <a:solidFill>
            <a:srgbClr val="000000">
              <a:alpha val="6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 name="Text Placeholder 14"/>
          <p:cNvSpPr txBox="1">
            <a:spLocks/>
          </p:cNvSpPr>
          <p:nvPr/>
        </p:nvSpPr>
        <p:spPr>
          <a:xfrm>
            <a:off x="275481" y="4288816"/>
            <a:ext cx="3961992" cy="1420634"/>
          </a:xfrm>
          <a:prstGeom prst="rect">
            <a:avLst/>
          </a:prstGeom>
        </p:spPr>
        <p:txBody>
          <a:bodyPr vert="horz" wrap="square" lIns="146283" tIns="91427" rIns="146283" bIns="91427"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51304" rtl="0" eaLnBrk="1" fontAlgn="auto" latinLnBrk="0" hangingPunct="1">
              <a:lnSpc>
                <a:spcPct val="90000"/>
              </a:lnSpc>
              <a:spcBef>
                <a:spcPts val="600"/>
              </a:spcBef>
              <a:spcAft>
                <a:spcPts val="600"/>
              </a:spcAft>
              <a:buClrTx/>
              <a:buSzPct val="90000"/>
              <a:buFont typeface="Arial" pitchFamily="34" charset="0"/>
              <a:buNone/>
              <a:tabLst/>
              <a:defRPr/>
            </a:pPr>
            <a:r>
              <a:rPr kumimoji="0" lang="en-US" sz="1632"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Segoe UI Semilight" panose="020B0402040204020203" pitchFamily="34" charset="0"/>
              </a:rPr>
              <a:t>Roll your own with REST APIs</a:t>
            </a:r>
          </a:p>
          <a:p>
            <a:pPr marL="0" marR="0" lvl="0" indent="0" algn="l" defTabSz="951304" rtl="0" eaLnBrk="1" fontAlgn="auto" latinLnBrk="0" hangingPunct="1">
              <a:lnSpc>
                <a:spcPct val="90000"/>
              </a:lnSpc>
              <a:spcBef>
                <a:spcPts val="600"/>
              </a:spcBef>
              <a:spcAft>
                <a:spcPts val="600"/>
              </a:spcAft>
              <a:buClrTx/>
              <a:buSzPct val="90000"/>
              <a:buFont typeface="Arial" pitchFamily="34" charset="0"/>
              <a:buNone/>
              <a:tabLst/>
              <a:defRPr/>
            </a:pPr>
            <a:r>
              <a:rPr kumimoji="0" lang="en-US" sz="1632"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Segoe UI Semilight" panose="020B0402040204020203" pitchFamily="34" charset="0"/>
              </a:rPr>
              <a:t>Simple to add: just a few lines </a:t>
            </a:r>
            <a:br>
              <a:rPr kumimoji="0" lang="en-US" sz="1632"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Segoe UI Semilight" panose="020B0402040204020203" pitchFamily="34" charset="0"/>
              </a:rPr>
            </a:br>
            <a:r>
              <a:rPr kumimoji="0" lang="en-US" sz="1632"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Segoe UI Semilight" panose="020B0402040204020203" pitchFamily="34" charset="0"/>
              </a:rPr>
              <a:t>of code required</a:t>
            </a:r>
          </a:p>
          <a:p>
            <a:pPr marL="0" marR="0" lvl="0" indent="0" algn="l" defTabSz="951304" rtl="0" eaLnBrk="1" fontAlgn="auto" latinLnBrk="0" hangingPunct="1">
              <a:lnSpc>
                <a:spcPct val="90000"/>
              </a:lnSpc>
              <a:spcBef>
                <a:spcPts val="600"/>
              </a:spcBef>
              <a:spcAft>
                <a:spcPts val="600"/>
              </a:spcAft>
              <a:buClrTx/>
              <a:buSzPct val="90000"/>
              <a:buFont typeface="Arial" pitchFamily="34" charset="0"/>
              <a:buNone/>
              <a:tabLst/>
              <a:defRPr/>
            </a:pPr>
            <a:endParaRPr kumimoji="0" lang="en-US" sz="1632"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Segoe UI Semilight" panose="020B0402040204020203" pitchFamily="34" charset="0"/>
            </a:endParaRPr>
          </a:p>
        </p:txBody>
      </p:sp>
      <p:sp>
        <p:nvSpPr>
          <p:cNvPr id="32" name="Text Placeholder 14"/>
          <p:cNvSpPr txBox="1">
            <a:spLocks/>
          </p:cNvSpPr>
          <p:nvPr/>
        </p:nvSpPr>
        <p:spPr>
          <a:xfrm>
            <a:off x="4237242" y="4288816"/>
            <a:ext cx="3513427" cy="1651158"/>
          </a:xfrm>
          <a:prstGeom prst="rect">
            <a:avLst/>
          </a:prstGeom>
        </p:spPr>
        <p:txBody>
          <a:bodyPr vert="horz" wrap="square" lIns="146283" tIns="91427" rIns="146283" bIns="91427"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51304" rtl="0" eaLnBrk="1" fontAlgn="auto" latinLnBrk="0" hangingPunct="1">
              <a:lnSpc>
                <a:spcPct val="90000"/>
              </a:lnSpc>
              <a:spcBef>
                <a:spcPts val="600"/>
              </a:spcBef>
              <a:spcAft>
                <a:spcPts val="600"/>
              </a:spcAft>
              <a:buClrTx/>
              <a:buSzPct val="90000"/>
              <a:buFont typeface="Arial" pitchFamily="34" charset="0"/>
              <a:buNone/>
              <a:tabLst/>
              <a:defRPr/>
            </a:pPr>
            <a:r>
              <a:rPr kumimoji="0" lang="en-US" sz="1632"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Segoe UI Semilight" panose="020B0402040204020203" pitchFamily="34" charset="0"/>
              </a:rPr>
              <a:t>Make the same API code call on iOS, Android, and Windows</a:t>
            </a:r>
          </a:p>
          <a:p>
            <a:pPr marL="0" marR="0" lvl="0" indent="0" algn="l" defTabSz="951304" rtl="0" eaLnBrk="1" fontAlgn="auto" latinLnBrk="0" hangingPunct="1">
              <a:lnSpc>
                <a:spcPct val="90000"/>
              </a:lnSpc>
              <a:spcBef>
                <a:spcPts val="600"/>
              </a:spcBef>
              <a:spcAft>
                <a:spcPts val="600"/>
              </a:spcAft>
              <a:buClrTx/>
              <a:buSzPct val="90000"/>
              <a:buFont typeface="Arial" pitchFamily="34" charset="0"/>
              <a:buNone/>
              <a:tabLst/>
              <a:defRPr/>
            </a:pPr>
            <a:r>
              <a:rPr kumimoji="0" lang="en-US" sz="1632"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Segoe UI Semilight" panose="020B0402040204020203" pitchFamily="34" charset="0"/>
              </a:rPr>
              <a:t>Integrate into the language </a:t>
            </a:r>
            <a:br>
              <a:rPr kumimoji="0" lang="en-US" sz="1632"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Segoe UI Semilight" panose="020B0402040204020203" pitchFamily="34" charset="0"/>
              </a:rPr>
            </a:br>
            <a:r>
              <a:rPr kumimoji="0" lang="en-US" sz="1632"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Segoe UI Semilight" panose="020B0402040204020203" pitchFamily="34" charset="0"/>
              </a:rPr>
              <a:t>and platform of your choice</a:t>
            </a:r>
          </a:p>
          <a:p>
            <a:pPr marL="0" marR="0" lvl="0" indent="0" algn="l" defTabSz="951304" rtl="0" eaLnBrk="1" fontAlgn="auto" latinLnBrk="0" hangingPunct="1">
              <a:lnSpc>
                <a:spcPct val="90000"/>
              </a:lnSpc>
              <a:spcBef>
                <a:spcPts val="600"/>
              </a:spcBef>
              <a:spcAft>
                <a:spcPts val="600"/>
              </a:spcAft>
              <a:buClrTx/>
              <a:buSzPct val="90000"/>
              <a:buFont typeface="Arial" pitchFamily="34" charset="0"/>
              <a:buNone/>
              <a:tabLst/>
              <a:defRPr/>
            </a:pPr>
            <a:endParaRPr kumimoji="0" lang="en-US" sz="1632"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Segoe UI Semilight" panose="020B0402040204020203" pitchFamily="34" charset="0"/>
            </a:endParaRPr>
          </a:p>
        </p:txBody>
      </p:sp>
      <p:sp>
        <p:nvSpPr>
          <p:cNvPr id="33" name="Text Placeholder 14"/>
          <p:cNvSpPr txBox="1">
            <a:spLocks/>
          </p:cNvSpPr>
          <p:nvPr/>
        </p:nvSpPr>
        <p:spPr>
          <a:xfrm>
            <a:off x="8199002" y="4288815"/>
            <a:ext cx="4053353" cy="2269155"/>
          </a:xfrm>
          <a:prstGeom prst="rect">
            <a:avLst/>
          </a:prstGeom>
        </p:spPr>
        <p:txBody>
          <a:bodyPr vert="horz" wrap="square" lIns="146283" tIns="91427" rIns="146283" bIns="91427"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51304" rtl="0" eaLnBrk="1" fontAlgn="auto" latinLnBrk="0" hangingPunct="1">
              <a:lnSpc>
                <a:spcPct val="90000"/>
              </a:lnSpc>
              <a:spcBef>
                <a:spcPts val="600"/>
              </a:spcBef>
              <a:spcAft>
                <a:spcPts val="600"/>
              </a:spcAft>
              <a:buClrTx/>
              <a:buSzPct val="90000"/>
              <a:buFont typeface="Arial" pitchFamily="34" charset="0"/>
              <a:buNone/>
              <a:tabLst/>
              <a:defRPr/>
            </a:pPr>
            <a:r>
              <a:rPr kumimoji="0" lang="en-US" sz="1632"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Segoe UI Semilight" panose="020B0402040204020203" pitchFamily="34" charset="0"/>
              </a:rPr>
              <a:t>Built by experts in their field from Microsoft Research, Bing, and Azure Machine Learning</a:t>
            </a:r>
          </a:p>
          <a:p>
            <a:pPr marL="0" marR="0" lvl="0" indent="0" algn="l" defTabSz="951304" rtl="0" eaLnBrk="1" fontAlgn="auto" latinLnBrk="0" hangingPunct="1">
              <a:lnSpc>
                <a:spcPct val="90000"/>
              </a:lnSpc>
              <a:spcBef>
                <a:spcPts val="600"/>
              </a:spcBef>
              <a:spcAft>
                <a:spcPts val="600"/>
              </a:spcAft>
              <a:buClrTx/>
              <a:buSzPct val="90000"/>
              <a:buFont typeface="Arial" pitchFamily="34" charset="0"/>
              <a:buNone/>
              <a:tabLst/>
              <a:defRPr/>
            </a:pPr>
            <a:r>
              <a:rPr kumimoji="0" lang="en-US" sz="1632"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Segoe UI Semilight" panose="020B0402040204020203" pitchFamily="34" charset="0"/>
              </a:rPr>
              <a:t>Quality documentation, sample code, and community support</a:t>
            </a:r>
          </a:p>
          <a:p>
            <a:pPr marL="0" marR="0" lvl="0" indent="0" algn="l" defTabSz="951304" rtl="0" eaLnBrk="1" fontAlgn="auto" latinLnBrk="0" hangingPunct="1">
              <a:lnSpc>
                <a:spcPct val="90000"/>
              </a:lnSpc>
              <a:spcBef>
                <a:spcPts val="600"/>
              </a:spcBef>
              <a:spcAft>
                <a:spcPts val="600"/>
              </a:spcAft>
              <a:buClrTx/>
              <a:buSzPct val="90000"/>
              <a:buFont typeface="Arial" pitchFamily="34" charset="0"/>
              <a:buNone/>
              <a:tabLst/>
              <a:defRPr/>
            </a:pPr>
            <a:endParaRPr kumimoji="0" lang="en-US" sz="1632"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Segoe UI Semilight" panose="020B0402040204020203" pitchFamily="34" charset="0"/>
            </a:endParaRPr>
          </a:p>
          <a:p>
            <a:pPr marL="0" marR="0" lvl="0" indent="0" algn="l" defTabSz="951304" rtl="0" eaLnBrk="1" fontAlgn="auto" latinLnBrk="0" hangingPunct="1">
              <a:lnSpc>
                <a:spcPct val="90000"/>
              </a:lnSpc>
              <a:spcBef>
                <a:spcPts val="600"/>
              </a:spcBef>
              <a:spcAft>
                <a:spcPts val="600"/>
              </a:spcAft>
              <a:buClrTx/>
              <a:buSzPct val="90000"/>
              <a:buFont typeface="Arial" pitchFamily="34" charset="0"/>
              <a:buNone/>
              <a:tabLst/>
              <a:defRPr/>
            </a:pPr>
            <a:endParaRPr kumimoji="0" lang="en-US" sz="1632"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Segoe UI Semilight" panose="020B0402040204020203" pitchFamily="34" charset="0"/>
            </a:endParaRPr>
          </a:p>
        </p:txBody>
      </p:sp>
      <p:grpSp>
        <p:nvGrpSpPr>
          <p:cNvPr id="19" name="Group 18"/>
          <p:cNvGrpSpPr/>
          <p:nvPr/>
        </p:nvGrpSpPr>
        <p:grpSpPr>
          <a:xfrm>
            <a:off x="4834748" y="6420988"/>
            <a:ext cx="2701838" cy="382257"/>
            <a:chOff x="4708300" y="6295658"/>
            <a:chExt cx="2649101" cy="374796"/>
          </a:xfrm>
        </p:grpSpPr>
        <p:pic>
          <p:nvPicPr>
            <p:cNvPr id="7" name="Picture 6"/>
            <p:cNvPicPr>
              <a:picLocks noChangeAspect="1"/>
            </p:cNvPicPr>
            <p:nvPr/>
          </p:nvPicPr>
          <p:blipFill rotWithShape="1">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b="11922"/>
            <a:stretch/>
          </p:blipFill>
          <p:spPr>
            <a:xfrm>
              <a:off x="4708300" y="6354134"/>
              <a:ext cx="1211252" cy="316320"/>
            </a:xfrm>
            <a:prstGeom prst="rect">
              <a:avLst/>
            </a:prstGeom>
          </p:spPr>
        </p:pic>
        <p:pic>
          <p:nvPicPr>
            <p:cNvPr id="9" name="Picture 8"/>
            <p:cNvPicPr>
              <a:picLocks noChangeAspect="1"/>
            </p:cNvPicPr>
            <p:nvPr/>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247311" y="6295658"/>
              <a:ext cx="1110090" cy="298614"/>
            </a:xfrm>
            <a:prstGeom prst="rect">
              <a:avLst/>
            </a:prstGeom>
          </p:spPr>
        </p:pic>
      </p:grpSp>
      <p:grpSp>
        <p:nvGrpSpPr>
          <p:cNvPr id="25" name="Group 24"/>
          <p:cNvGrpSpPr/>
          <p:nvPr/>
        </p:nvGrpSpPr>
        <p:grpSpPr>
          <a:xfrm>
            <a:off x="9036400" y="5935469"/>
            <a:ext cx="2165140" cy="385860"/>
            <a:chOff x="8446309" y="5819616"/>
            <a:chExt cx="2122879" cy="378328"/>
          </a:xfrm>
        </p:grpSpPr>
        <p:pic>
          <p:nvPicPr>
            <p:cNvPr id="13" name="Picture 12"/>
            <p:cNvPicPr>
              <a:picLocks noChangeAspect="1"/>
            </p:cNvPicPr>
            <p:nvPr/>
          </p:nvPicPr>
          <p:blipFill>
            <a:blip r:embed="rId9">
              <a:extLst>
                <a:ext uri="{BEBA8EAE-BF5A-486C-A8C5-ECC9F3942E4B}">
                  <a14:imgProps xmlns:a14="http://schemas.microsoft.com/office/drawing/2010/main">
                    <a14:imgLayer r:embed="rId10">
                      <a14:imgEffect>
                        <a14:brightnessContrast bright="-100000"/>
                      </a14:imgEffect>
                    </a14:imgLayer>
                  </a14:imgProps>
                </a:ext>
              </a:extLst>
            </a:blip>
            <a:stretch>
              <a:fillRect/>
            </a:stretch>
          </p:blipFill>
          <p:spPr>
            <a:xfrm>
              <a:off x="8446309" y="5819616"/>
              <a:ext cx="922751" cy="378328"/>
            </a:xfrm>
            <a:prstGeom prst="rect">
              <a:avLst/>
            </a:prstGeom>
            <a:noFill/>
          </p:spPr>
        </p:pic>
        <p:pic>
          <p:nvPicPr>
            <p:cNvPr id="12" name="Picture 11"/>
            <p:cNvPicPr>
              <a:picLocks noChangeAspect="1"/>
            </p:cNvPicPr>
            <p:nvPr/>
          </p:nvPicPr>
          <p:blipFill rotWithShape="1">
            <a:blip r:embed="rId11" cstate="print">
              <a:extLst>
                <a:ext uri="{BEBA8EAE-BF5A-486C-A8C5-ECC9F3942E4B}">
                  <a14:imgProps xmlns:a14="http://schemas.microsoft.com/office/drawing/2010/main">
                    <a14:imgLayer r:embed="rId12">
                      <a14:imgEffect>
                        <a14:brightnessContrast bright="-100000"/>
                      </a14:imgEffect>
                    </a14:imgLayer>
                  </a14:imgProps>
                </a:ext>
                <a:ext uri="{28A0092B-C50C-407E-A947-70E740481C1C}">
                  <a14:useLocalDpi xmlns:a14="http://schemas.microsoft.com/office/drawing/2010/main" val="0"/>
                </a:ext>
              </a:extLst>
            </a:blip>
            <a:srcRect t="30800" b="30800"/>
            <a:stretch/>
          </p:blipFill>
          <p:spPr>
            <a:xfrm>
              <a:off x="9503481" y="5823349"/>
              <a:ext cx="1065707" cy="306921"/>
            </a:xfrm>
            <a:prstGeom prst="rect">
              <a:avLst/>
            </a:prstGeom>
          </p:spPr>
        </p:pic>
      </p:grpSp>
      <p:grpSp>
        <p:nvGrpSpPr>
          <p:cNvPr id="55" name="Group 54"/>
          <p:cNvGrpSpPr/>
          <p:nvPr/>
        </p:nvGrpSpPr>
        <p:grpSpPr>
          <a:xfrm>
            <a:off x="8549462" y="6339328"/>
            <a:ext cx="3139014" cy="432159"/>
            <a:chOff x="8157755" y="6215592"/>
            <a:chExt cx="3077744" cy="423724"/>
          </a:xfrm>
        </p:grpSpPr>
        <p:pic>
          <p:nvPicPr>
            <p:cNvPr id="14" name="Picture 13"/>
            <p:cNvPicPr>
              <a:picLocks noChangeAspect="1"/>
            </p:cNvPicPr>
            <p:nvPr/>
          </p:nvPicPr>
          <p:blipFill>
            <a:blip r:embed="rId13" cstate="print">
              <a:extLst>
                <a:ext uri="{BEBA8EAE-BF5A-486C-A8C5-ECC9F3942E4B}">
                  <a14:imgProps xmlns:a14="http://schemas.microsoft.com/office/drawing/2010/main">
                    <a14:imgLayer r:embed="rId1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157755" y="6278870"/>
              <a:ext cx="1441785" cy="360446"/>
            </a:xfrm>
            <a:prstGeom prst="rect">
              <a:avLst/>
            </a:prstGeom>
          </p:spPr>
        </p:pic>
        <p:pic>
          <p:nvPicPr>
            <p:cNvPr id="16" name="Picture 15"/>
            <p:cNvPicPr>
              <a:picLocks noChangeAspect="1"/>
            </p:cNvPicPr>
            <p:nvPr/>
          </p:nvPicPr>
          <p:blipFill>
            <a:blip r:embed="rId15" cstate="print">
              <a:extLst>
                <a:ext uri="{BEBA8EAE-BF5A-486C-A8C5-ECC9F3942E4B}">
                  <a14:imgProps xmlns:a14="http://schemas.microsoft.com/office/drawing/2010/main">
                    <a14:imgLayer r:embed="rId1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771302" y="6215592"/>
              <a:ext cx="1464197" cy="367479"/>
            </a:xfrm>
            <a:prstGeom prst="rect">
              <a:avLst/>
            </a:prstGeom>
          </p:spPr>
        </p:pic>
      </p:grpSp>
      <p:cxnSp>
        <p:nvCxnSpPr>
          <p:cNvPr id="45" name="Straight Connector 44"/>
          <p:cNvCxnSpPr/>
          <p:nvPr/>
        </p:nvCxnSpPr>
        <p:spPr>
          <a:xfrm>
            <a:off x="332396" y="5777122"/>
            <a:ext cx="3839935" cy="0"/>
          </a:xfrm>
          <a:prstGeom prst="line">
            <a:avLst/>
          </a:prstGeom>
          <a:ln w="1905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a:off x="4265699" y="5777122"/>
            <a:ext cx="3839935" cy="0"/>
          </a:xfrm>
          <a:prstGeom prst="line">
            <a:avLst/>
          </a:prstGeom>
          <a:ln w="1905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8199001" y="5777122"/>
            <a:ext cx="3839935" cy="0"/>
          </a:xfrm>
          <a:prstGeom prst="line">
            <a:avLst/>
          </a:prstGeom>
          <a:ln w="1905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1863909" y="3824915"/>
            <a:ext cx="776911" cy="478376"/>
          </a:xfrm>
          <a:prstGeom prst="rect">
            <a:avLst/>
          </a:prstGeom>
          <a:noFill/>
        </p:spPr>
        <p:txBody>
          <a:bodyPr wrap="none"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2448" b="0" i="0" u="none" strike="noStrike" kern="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Segoe UI Semilight" panose="020B0402040204020203" pitchFamily="34" charset="0"/>
              </a:rPr>
              <a:t>Easy</a:t>
            </a:r>
          </a:p>
        </p:txBody>
      </p:sp>
      <p:sp>
        <p:nvSpPr>
          <p:cNvPr id="26" name="TextBox 25"/>
          <p:cNvSpPr txBox="1"/>
          <p:nvPr/>
        </p:nvSpPr>
        <p:spPr>
          <a:xfrm>
            <a:off x="5600203" y="3842921"/>
            <a:ext cx="1170926" cy="478376"/>
          </a:xfrm>
          <a:prstGeom prst="rect">
            <a:avLst/>
          </a:prstGeom>
          <a:noFill/>
        </p:spPr>
        <p:txBody>
          <a:bodyPr wrap="none"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2448" b="0" i="0" u="none" strike="noStrike" kern="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Segoe UI Semilight" panose="020B0402040204020203" pitchFamily="34" charset="0"/>
              </a:rPr>
              <a:t>Flexible</a:t>
            </a:r>
          </a:p>
        </p:txBody>
      </p:sp>
      <p:sp>
        <p:nvSpPr>
          <p:cNvPr id="27" name="TextBox 26"/>
          <p:cNvSpPr txBox="1"/>
          <p:nvPr/>
        </p:nvSpPr>
        <p:spPr>
          <a:xfrm>
            <a:off x="9581736" y="3835996"/>
            <a:ext cx="1074466" cy="478376"/>
          </a:xfrm>
          <a:prstGeom prst="rect">
            <a:avLst/>
          </a:prstGeom>
          <a:noFill/>
        </p:spPr>
        <p:txBody>
          <a:bodyPr wrap="none"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2448" b="0" i="0" u="none" strike="noStrike" kern="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Segoe UI Semilight" panose="020B0402040204020203" pitchFamily="34" charset="0"/>
              </a:rPr>
              <a:t>Tested</a:t>
            </a:r>
          </a:p>
        </p:txBody>
      </p:sp>
      <p:grpSp>
        <p:nvGrpSpPr>
          <p:cNvPr id="20" name="Group 19"/>
          <p:cNvGrpSpPr/>
          <p:nvPr/>
        </p:nvGrpSpPr>
        <p:grpSpPr>
          <a:xfrm>
            <a:off x="5220250" y="5987492"/>
            <a:ext cx="1930832" cy="402266"/>
            <a:chOff x="4718671" y="5870624"/>
            <a:chExt cx="1893144" cy="394414"/>
          </a:xfrm>
        </p:grpSpPr>
        <p:sp>
          <p:nvSpPr>
            <p:cNvPr id="44" name="Freeform 11"/>
            <p:cNvSpPr>
              <a:spLocks noEditPoints="1"/>
            </p:cNvSpPr>
            <p:nvPr/>
          </p:nvSpPr>
          <p:spPr bwMode="black">
            <a:xfrm>
              <a:off x="5488487" y="5870624"/>
              <a:ext cx="320356" cy="394414"/>
            </a:xfrm>
            <a:custGeom>
              <a:avLst/>
              <a:gdLst>
                <a:gd name="T0" fmla="*/ 574 w 618"/>
                <a:gd name="T1" fmla="*/ 227 h 723"/>
                <a:gd name="T2" fmla="*/ 530 w 618"/>
                <a:gd name="T3" fmla="*/ 272 h 723"/>
                <a:gd name="T4" fmla="*/ 530 w 618"/>
                <a:gd name="T5" fmla="*/ 446 h 723"/>
                <a:gd name="T6" fmla="*/ 574 w 618"/>
                <a:gd name="T7" fmla="*/ 491 h 723"/>
                <a:gd name="T8" fmla="*/ 618 w 618"/>
                <a:gd name="T9" fmla="*/ 446 h 723"/>
                <a:gd name="T10" fmla="*/ 618 w 618"/>
                <a:gd name="T11" fmla="*/ 272 h 723"/>
                <a:gd name="T12" fmla="*/ 574 w 618"/>
                <a:gd name="T13" fmla="*/ 227 h 723"/>
                <a:gd name="T14" fmla="*/ 44 w 618"/>
                <a:gd name="T15" fmla="*/ 227 h 723"/>
                <a:gd name="T16" fmla="*/ 0 w 618"/>
                <a:gd name="T17" fmla="*/ 272 h 723"/>
                <a:gd name="T18" fmla="*/ 0 w 618"/>
                <a:gd name="T19" fmla="*/ 446 h 723"/>
                <a:gd name="T20" fmla="*/ 44 w 618"/>
                <a:gd name="T21" fmla="*/ 491 h 723"/>
                <a:gd name="T22" fmla="*/ 88 w 618"/>
                <a:gd name="T23" fmla="*/ 446 h 723"/>
                <a:gd name="T24" fmla="*/ 88 w 618"/>
                <a:gd name="T25" fmla="*/ 272 h 723"/>
                <a:gd name="T26" fmla="*/ 44 w 618"/>
                <a:gd name="T27" fmla="*/ 227 h 723"/>
                <a:gd name="T28" fmla="*/ 505 w 618"/>
                <a:gd name="T29" fmla="*/ 228 h 723"/>
                <a:gd name="T30" fmla="*/ 505 w 618"/>
                <a:gd name="T31" fmla="*/ 547 h 723"/>
                <a:gd name="T32" fmla="*/ 471 w 618"/>
                <a:gd name="T33" fmla="*/ 581 h 723"/>
                <a:gd name="T34" fmla="*/ 432 w 618"/>
                <a:gd name="T35" fmla="*/ 581 h 723"/>
                <a:gd name="T36" fmla="*/ 432 w 618"/>
                <a:gd name="T37" fmla="*/ 678 h 723"/>
                <a:gd name="T38" fmla="*/ 388 w 618"/>
                <a:gd name="T39" fmla="*/ 723 h 723"/>
                <a:gd name="T40" fmla="*/ 344 w 618"/>
                <a:gd name="T41" fmla="*/ 678 h 723"/>
                <a:gd name="T42" fmla="*/ 344 w 618"/>
                <a:gd name="T43" fmla="*/ 581 h 723"/>
                <a:gd name="T44" fmla="*/ 276 w 618"/>
                <a:gd name="T45" fmla="*/ 581 h 723"/>
                <a:gd name="T46" fmla="*/ 276 w 618"/>
                <a:gd name="T47" fmla="*/ 678 h 723"/>
                <a:gd name="T48" fmla="*/ 232 w 618"/>
                <a:gd name="T49" fmla="*/ 723 h 723"/>
                <a:gd name="T50" fmla="*/ 188 w 618"/>
                <a:gd name="T51" fmla="*/ 678 h 723"/>
                <a:gd name="T52" fmla="*/ 188 w 618"/>
                <a:gd name="T53" fmla="*/ 581 h 723"/>
                <a:gd name="T54" fmla="*/ 149 w 618"/>
                <a:gd name="T55" fmla="*/ 581 h 723"/>
                <a:gd name="T56" fmla="*/ 115 w 618"/>
                <a:gd name="T57" fmla="*/ 547 h 723"/>
                <a:gd name="T58" fmla="*/ 115 w 618"/>
                <a:gd name="T59" fmla="*/ 228 h 723"/>
                <a:gd name="T60" fmla="*/ 505 w 618"/>
                <a:gd name="T61" fmla="*/ 228 h 723"/>
                <a:gd name="T62" fmla="*/ 402 w 618"/>
                <a:gd name="T63" fmla="*/ 63 h 723"/>
                <a:gd name="T64" fmla="*/ 438 w 618"/>
                <a:gd name="T65" fmla="*/ 11 h 723"/>
                <a:gd name="T66" fmla="*/ 437 w 618"/>
                <a:gd name="T67" fmla="*/ 2 h 723"/>
                <a:gd name="T68" fmla="*/ 428 w 618"/>
                <a:gd name="T69" fmla="*/ 4 h 723"/>
                <a:gd name="T70" fmla="*/ 390 w 618"/>
                <a:gd name="T71" fmla="*/ 59 h 723"/>
                <a:gd name="T72" fmla="*/ 309 w 618"/>
                <a:gd name="T73" fmla="*/ 43 h 723"/>
                <a:gd name="T74" fmla="*/ 228 w 618"/>
                <a:gd name="T75" fmla="*/ 59 h 723"/>
                <a:gd name="T76" fmla="*/ 190 w 618"/>
                <a:gd name="T77" fmla="*/ 4 h 723"/>
                <a:gd name="T78" fmla="*/ 181 w 618"/>
                <a:gd name="T79" fmla="*/ 2 h 723"/>
                <a:gd name="T80" fmla="*/ 180 w 618"/>
                <a:gd name="T81" fmla="*/ 11 h 723"/>
                <a:gd name="T82" fmla="*/ 216 w 618"/>
                <a:gd name="T83" fmla="*/ 63 h 723"/>
                <a:gd name="T84" fmla="*/ 114 w 618"/>
                <a:gd name="T85" fmla="*/ 200 h 723"/>
                <a:gd name="T86" fmla="*/ 504 w 618"/>
                <a:gd name="T87" fmla="*/ 200 h 723"/>
                <a:gd name="T88" fmla="*/ 402 w 618"/>
                <a:gd name="T89" fmla="*/ 63 h 723"/>
                <a:gd name="T90" fmla="*/ 227 w 618"/>
                <a:gd name="T91" fmla="*/ 146 h 723"/>
                <a:gd name="T92" fmla="*/ 205 w 618"/>
                <a:gd name="T93" fmla="*/ 124 h 723"/>
                <a:gd name="T94" fmla="*/ 227 w 618"/>
                <a:gd name="T95" fmla="*/ 103 h 723"/>
                <a:gd name="T96" fmla="*/ 248 w 618"/>
                <a:gd name="T97" fmla="*/ 124 h 723"/>
                <a:gd name="T98" fmla="*/ 227 w 618"/>
                <a:gd name="T99" fmla="*/ 146 h 723"/>
                <a:gd name="T100" fmla="*/ 394 w 618"/>
                <a:gd name="T101" fmla="*/ 146 h 723"/>
                <a:gd name="T102" fmla="*/ 373 w 618"/>
                <a:gd name="T103" fmla="*/ 124 h 723"/>
                <a:gd name="T104" fmla="*/ 394 w 618"/>
                <a:gd name="T105" fmla="*/ 103 h 723"/>
                <a:gd name="T106" fmla="*/ 416 w 618"/>
                <a:gd name="T107" fmla="*/ 124 h 723"/>
                <a:gd name="T108" fmla="*/ 394 w 618"/>
                <a:gd name="T109" fmla="*/ 146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18" h="723">
                  <a:moveTo>
                    <a:pt x="574" y="227"/>
                  </a:moveTo>
                  <a:cubicBezTo>
                    <a:pt x="550" y="227"/>
                    <a:pt x="530" y="247"/>
                    <a:pt x="530" y="272"/>
                  </a:cubicBezTo>
                  <a:cubicBezTo>
                    <a:pt x="530" y="446"/>
                    <a:pt x="530" y="446"/>
                    <a:pt x="530" y="446"/>
                  </a:cubicBezTo>
                  <a:cubicBezTo>
                    <a:pt x="530" y="471"/>
                    <a:pt x="550" y="491"/>
                    <a:pt x="574" y="491"/>
                  </a:cubicBezTo>
                  <a:cubicBezTo>
                    <a:pt x="598" y="491"/>
                    <a:pt x="618" y="471"/>
                    <a:pt x="618" y="446"/>
                  </a:cubicBezTo>
                  <a:cubicBezTo>
                    <a:pt x="618" y="272"/>
                    <a:pt x="618" y="272"/>
                    <a:pt x="618" y="272"/>
                  </a:cubicBezTo>
                  <a:cubicBezTo>
                    <a:pt x="618" y="247"/>
                    <a:pt x="598" y="227"/>
                    <a:pt x="574" y="227"/>
                  </a:cubicBezTo>
                  <a:close/>
                  <a:moveTo>
                    <a:pt x="44" y="227"/>
                  </a:moveTo>
                  <a:cubicBezTo>
                    <a:pt x="20" y="227"/>
                    <a:pt x="0" y="247"/>
                    <a:pt x="0" y="272"/>
                  </a:cubicBezTo>
                  <a:cubicBezTo>
                    <a:pt x="0" y="446"/>
                    <a:pt x="0" y="446"/>
                    <a:pt x="0" y="446"/>
                  </a:cubicBezTo>
                  <a:cubicBezTo>
                    <a:pt x="0" y="471"/>
                    <a:pt x="20" y="491"/>
                    <a:pt x="44" y="491"/>
                  </a:cubicBezTo>
                  <a:cubicBezTo>
                    <a:pt x="68" y="491"/>
                    <a:pt x="88" y="471"/>
                    <a:pt x="88" y="446"/>
                  </a:cubicBezTo>
                  <a:cubicBezTo>
                    <a:pt x="88" y="272"/>
                    <a:pt x="88" y="272"/>
                    <a:pt x="88" y="272"/>
                  </a:cubicBezTo>
                  <a:cubicBezTo>
                    <a:pt x="88" y="247"/>
                    <a:pt x="68" y="227"/>
                    <a:pt x="44" y="227"/>
                  </a:cubicBezTo>
                  <a:close/>
                  <a:moveTo>
                    <a:pt x="505" y="228"/>
                  </a:moveTo>
                  <a:cubicBezTo>
                    <a:pt x="505" y="547"/>
                    <a:pt x="505" y="547"/>
                    <a:pt x="505" y="547"/>
                  </a:cubicBezTo>
                  <a:cubicBezTo>
                    <a:pt x="505" y="566"/>
                    <a:pt x="490" y="581"/>
                    <a:pt x="471" y="581"/>
                  </a:cubicBezTo>
                  <a:cubicBezTo>
                    <a:pt x="432" y="581"/>
                    <a:pt x="432" y="581"/>
                    <a:pt x="432" y="581"/>
                  </a:cubicBezTo>
                  <a:cubicBezTo>
                    <a:pt x="432" y="678"/>
                    <a:pt x="432" y="678"/>
                    <a:pt x="432" y="678"/>
                  </a:cubicBezTo>
                  <a:cubicBezTo>
                    <a:pt x="432" y="703"/>
                    <a:pt x="412" y="723"/>
                    <a:pt x="388" y="723"/>
                  </a:cubicBezTo>
                  <a:cubicBezTo>
                    <a:pt x="364" y="723"/>
                    <a:pt x="344" y="703"/>
                    <a:pt x="344" y="678"/>
                  </a:cubicBezTo>
                  <a:cubicBezTo>
                    <a:pt x="344" y="581"/>
                    <a:pt x="344" y="581"/>
                    <a:pt x="344" y="581"/>
                  </a:cubicBezTo>
                  <a:cubicBezTo>
                    <a:pt x="276" y="581"/>
                    <a:pt x="276" y="581"/>
                    <a:pt x="276" y="581"/>
                  </a:cubicBezTo>
                  <a:cubicBezTo>
                    <a:pt x="276" y="678"/>
                    <a:pt x="276" y="678"/>
                    <a:pt x="276" y="678"/>
                  </a:cubicBezTo>
                  <a:cubicBezTo>
                    <a:pt x="276" y="703"/>
                    <a:pt x="256" y="723"/>
                    <a:pt x="232" y="723"/>
                  </a:cubicBezTo>
                  <a:cubicBezTo>
                    <a:pt x="208" y="723"/>
                    <a:pt x="188" y="703"/>
                    <a:pt x="188" y="678"/>
                  </a:cubicBezTo>
                  <a:cubicBezTo>
                    <a:pt x="188" y="581"/>
                    <a:pt x="188" y="581"/>
                    <a:pt x="188" y="581"/>
                  </a:cubicBezTo>
                  <a:cubicBezTo>
                    <a:pt x="149" y="581"/>
                    <a:pt x="149" y="581"/>
                    <a:pt x="149" y="581"/>
                  </a:cubicBezTo>
                  <a:cubicBezTo>
                    <a:pt x="130" y="581"/>
                    <a:pt x="115" y="566"/>
                    <a:pt x="115" y="547"/>
                  </a:cubicBezTo>
                  <a:cubicBezTo>
                    <a:pt x="115" y="228"/>
                    <a:pt x="115" y="228"/>
                    <a:pt x="115" y="228"/>
                  </a:cubicBezTo>
                  <a:lnTo>
                    <a:pt x="505" y="228"/>
                  </a:lnTo>
                  <a:close/>
                  <a:moveTo>
                    <a:pt x="402" y="63"/>
                  </a:moveTo>
                  <a:cubicBezTo>
                    <a:pt x="438" y="11"/>
                    <a:pt x="438" y="11"/>
                    <a:pt x="438" y="11"/>
                  </a:cubicBezTo>
                  <a:cubicBezTo>
                    <a:pt x="440" y="8"/>
                    <a:pt x="439" y="4"/>
                    <a:pt x="437" y="2"/>
                  </a:cubicBezTo>
                  <a:cubicBezTo>
                    <a:pt x="434" y="0"/>
                    <a:pt x="430" y="1"/>
                    <a:pt x="428" y="4"/>
                  </a:cubicBezTo>
                  <a:cubicBezTo>
                    <a:pt x="390" y="59"/>
                    <a:pt x="390" y="59"/>
                    <a:pt x="390" y="59"/>
                  </a:cubicBezTo>
                  <a:cubicBezTo>
                    <a:pt x="365" y="49"/>
                    <a:pt x="338" y="43"/>
                    <a:pt x="309" y="43"/>
                  </a:cubicBezTo>
                  <a:cubicBezTo>
                    <a:pt x="280" y="43"/>
                    <a:pt x="253" y="49"/>
                    <a:pt x="228" y="59"/>
                  </a:cubicBezTo>
                  <a:cubicBezTo>
                    <a:pt x="190" y="4"/>
                    <a:pt x="190" y="4"/>
                    <a:pt x="190" y="4"/>
                  </a:cubicBezTo>
                  <a:cubicBezTo>
                    <a:pt x="188" y="1"/>
                    <a:pt x="184" y="0"/>
                    <a:pt x="181" y="2"/>
                  </a:cubicBezTo>
                  <a:cubicBezTo>
                    <a:pt x="179" y="4"/>
                    <a:pt x="178" y="8"/>
                    <a:pt x="180" y="11"/>
                  </a:cubicBezTo>
                  <a:cubicBezTo>
                    <a:pt x="216" y="63"/>
                    <a:pt x="216" y="63"/>
                    <a:pt x="216" y="63"/>
                  </a:cubicBezTo>
                  <a:cubicBezTo>
                    <a:pt x="159" y="90"/>
                    <a:pt x="119" y="141"/>
                    <a:pt x="114" y="200"/>
                  </a:cubicBezTo>
                  <a:cubicBezTo>
                    <a:pt x="504" y="200"/>
                    <a:pt x="504" y="200"/>
                    <a:pt x="504" y="200"/>
                  </a:cubicBezTo>
                  <a:cubicBezTo>
                    <a:pt x="499" y="141"/>
                    <a:pt x="459" y="90"/>
                    <a:pt x="402" y="63"/>
                  </a:cubicBezTo>
                  <a:close/>
                  <a:moveTo>
                    <a:pt x="227" y="146"/>
                  </a:moveTo>
                  <a:cubicBezTo>
                    <a:pt x="215" y="146"/>
                    <a:pt x="205" y="136"/>
                    <a:pt x="205" y="124"/>
                  </a:cubicBezTo>
                  <a:cubicBezTo>
                    <a:pt x="205" y="113"/>
                    <a:pt x="215" y="103"/>
                    <a:pt x="227" y="103"/>
                  </a:cubicBezTo>
                  <a:cubicBezTo>
                    <a:pt x="239" y="103"/>
                    <a:pt x="248" y="113"/>
                    <a:pt x="248" y="124"/>
                  </a:cubicBezTo>
                  <a:cubicBezTo>
                    <a:pt x="248" y="136"/>
                    <a:pt x="239" y="146"/>
                    <a:pt x="227" y="146"/>
                  </a:cubicBezTo>
                  <a:close/>
                  <a:moveTo>
                    <a:pt x="394" y="146"/>
                  </a:moveTo>
                  <a:cubicBezTo>
                    <a:pt x="382" y="146"/>
                    <a:pt x="373" y="136"/>
                    <a:pt x="373" y="124"/>
                  </a:cubicBezTo>
                  <a:cubicBezTo>
                    <a:pt x="373" y="113"/>
                    <a:pt x="382" y="103"/>
                    <a:pt x="394" y="103"/>
                  </a:cubicBezTo>
                  <a:cubicBezTo>
                    <a:pt x="406" y="103"/>
                    <a:pt x="416" y="113"/>
                    <a:pt x="416" y="124"/>
                  </a:cubicBezTo>
                  <a:cubicBezTo>
                    <a:pt x="416" y="136"/>
                    <a:pt x="406" y="146"/>
                    <a:pt x="394" y="146"/>
                  </a:cubicBezTo>
                  <a:close/>
                </a:path>
              </a:pathLst>
            </a:custGeom>
            <a:solidFill>
              <a:srgbClr val="000000"/>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8" name="Freeform 47"/>
            <p:cNvSpPr>
              <a:spLocks noChangeAspect="1" noEditPoints="1"/>
            </p:cNvSpPr>
            <p:nvPr/>
          </p:nvSpPr>
          <p:spPr bwMode="black">
            <a:xfrm>
              <a:off x="4718671" y="5918276"/>
              <a:ext cx="300330" cy="299110"/>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rgbClr val="000000"/>
            </a:solidFill>
            <a:ln>
              <a:noFill/>
            </a:ln>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latin typeface="Segoe UI"/>
                <a:ea typeface="+mn-ea"/>
                <a:cs typeface="+mn-cs"/>
              </a:endParaRPr>
            </a:p>
          </p:txBody>
        </p:sp>
        <p:grpSp>
          <p:nvGrpSpPr>
            <p:cNvPr id="49" name="Group 48"/>
            <p:cNvGrpSpPr>
              <a:grpSpLocks noChangeAspect="1"/>
            </p:cNvGrpSpPr>
            <p:nvPr/>
          </p:nvGrpSpPr>
          <p:grpSpPr bwMode="black">
            <a:xfrm>
              <a:off x="6278329" y="5873298"/>
              <a:ext cx="333486" cy="389066"/>
              <a:chOff x="396875" y="1300163"/>
              <a:chExt cx="1162051" cy="1355725"/>
            </a:xfrm>
          </p:grpSpPr>
          <p:sp>
            <p:nvSpPr>
              <p:cNvPr id="50" name="Freeform 49"/>
              <p:cNvSpPr>
                <a:spLocks/>
              </p:cNvSpPr>
              <p:nvPr/>
            </p:nvSpPr>
            <p:spPr bwMode="black">
              <a:xfrm>
                <a:off x="396875" y="1616075"/>
                <a:ext cx="1162051" cy="1039813"/>
              </a:xfrm>
              <a:custGeom>
                <a:avLst/>
                <a:gdLst>
                  <a:gd name="T0" fmla="*/ 455 w 539"/>
                  <a:gd name="T1" fmla="*/ 186 h 482"/>
                  <a:gd name="T2" fmla="*/ 522 w 539"/>
                  <a:gd name="T3" fmla="*/ 67 h 482"/>
                  <a:gd name="T4" fmla="*/ 408 w 539"/>
                  <a:gd name="T5" fmla="*/ 5 h 482"/>
                  <a:gd name="T6" fmla="*/ 288 w 539"/>
                  <a:gd name="T7" fmla="*/ 34 h 482"/>
                  <a:gd name="T8" fmla="*/ 184 w 539"/>
                  <a:gd name="T9" fmla="*/ 7 h 482"/>
                  <a:gd name="T10" fmla="*/ 55 w 539"/>
                  <a:gd name="T11" fmla="*/ 86 h 482"/>
                  <a:gd name="T12" fmla="*/ 95 w 539"/>
                  <a:gd name="T13" fmla="*/ 401 h 482"/>
                  <a:gd name="T14" fmla="*/ 194 w 539"/>
                  <a:gd name="T15" fmla="*/ 480 h 482"/>
                  <a:gd name="T16" fmla="*/ 296 w 539"/>
                  <a:gd name="T17" fmla="*/ 455 h 482"/>
                  <a:gd name="T18" fmla="*/ 400 w 539"/>
                  <a:gd name="T19" fmla="*/ 479 h 482"/>
                  <a:gd name="T20" fmla="*/ 496 w 539"/>
                  <a:gd name="T21" fmla="*/ 402 h 482"/>
                  <a:gd name="T22" fmla="*/ 539 w 539"/>
                  <a:gd name="T23" fmla="*/ 313 h 482"/>
                  <a:gd name="T24" fmla="*/ 455 w 539"/>
                  <a:gd name="T25" fmla="*/ 186 h 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39" h="482">
                    <a:moveTo>
                      <a:pt x="455" y="186"/>
                    </a:moveTo>
                    <a:cubicBezTo>
                      <a:pt x="454" y="107"/>
                      <a:pt x="519" y="69"/>
                      <a:pt x="522" y="67"/>
                    </a:cubicBezTo>
                    <a:cubicBezTo>
                      <a:pt x="485" y="13"/>
                      <a:pt x="428" y="6"/>
                      <a:pt x="408" y="5"/>
                    </a:cubicBezTo>
                    <a:cubicBezTo>
                      <a:pt x="359" y="0"/>
                      <a:pt x="312" y="34"/>
                      <a:pt x="288" y="34"/>
                    </a:cubicBezTo>
                    <a:cubicBezTo>
                      <a:pt x="263" y="34"/>
                      <a:pt x="225" y="6"/>
                      <a:pt x="184" y="7"/>
                    </a:cubicBezTo>
                    <a:cubicBezTo>
                      <a:pt x="131" y="8"/>
                      <a:pt x="82" y="38"/>
                      <a:pt x="55" y="86"/>
                    </a:cubicBezTo>
                    <a:cubicBezTo>
                      <a:pt x="0" y="182"/>
                      <a:pt x="41" y="323"/>
                      <a:pt x="95" y="401"/>
                    </a:cubicBezTo>
                    <a:cubicBezTo>
                      <a:pt x="121" y="439"/>
                      <a:pt x="153" y="482"/>
                      <a:pt x="194" y="480"/>
                    </a:cubicBezTo>
                    <a:cubicBezTo>
                      <a:pt x="234" y="479"/>
                      <a:pt x="248" y="455"/>
                      <a:pt x="296" y="455"/>
                    </a:cubicBezTo>
                    <a:cubicBezTo>
                      <a:pt x="344" y="454"/>
                      <a:pt x="358" y="480"/>
                      <a:pt x="400" y="479"/>
                    </a:cubicBezTo>
                    <a:cubicBezTo>
                      <a:pt x="443" y="478"/>
                      <a:pt x="470" y="440"/>
                      <a:pt x="496" y="402"/>
                    </a:cubicBezTo>
                    <a:cubicBezTo>
                      <a:pt x="526" y="358"/>
                      <a:pt x="538" y="315"/>
                      <a:pt x="539" y="313"/>
                    </a:cubicBezTo>
                    <a:cubicBezTo>
                      <a:pt x="538" y="313"/>
                      <a:pt x="456" y="281"/>
                      <a:pt x="455" y="186"/>
                    </a:cubicBezTo>
                  </a:path>
                </a:pathLst>
              </a:custGeom>
              <a:solidFill>
                <a:srgbClr val="000000"/>
              </a:solidFill>
              <a:ln>
                <a:noFill/>
              </a:ln>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51" name="Freeform 50"/>
              <p:cNvSpPr>
                <a:spLocks/>
              </p:cNvSpPr>
              <p:nvPr/>
            </p:nvSpPr>
            <p:spPr bwMode="black">
              <a:xfrm>
                <a:off x="996950" y="1300163"/>
                <a:ext cx="288925" cy="317500"/>
              </a:xfrm>
              <a:custGeom>
                <a:avLst/>
                <a:gdLst>
                  <a:gd name="T0" fmla="*/ 98 w 134"/>
                  <a:gd name="T1" fmla="*/ 100 h 147"/>
                  <a:gd name="T2" fmla="*/ 130 w 134"/>
                  <a:gd name="T3" fmla="*/ 0 h 147"/>
                  <a:gd name="T4" fmla="*/ 38 w 134"/>
                  <a:gd name="T5" fmla="*/ 47 h 147"/>
                  <a:gd name="T6" fmla="*/ 5 w 134"/>
                  <a:gd name="T7" fmla="*/ 144 h 147"/>
                  <a:gd name="T8" fmla="*/ 98 w 134"/>
                  <a:gd name="T9" fmla="*/ 100 h 147"/>
                </a:gdLst>
                <a:ahLst/>
                <a:cxnLst>
                  <a:cxn ang="0">
                    <a:pos x="T0" y="T1"/>
                  </a:cxn>
                  <a:cxn ang="0">
                    <a:pos x="T2" y="T3"/>
                  </a:cxn>
                  <a:cxn ang="0">
                    <a:pos x="T4" y="T5"/>
                  </a:cxn>
                  <a:cxn ang="0">
                    <a:pos x="T6" y="T7"/>
                  </a:cxn>
                  <a:cxn ang="0">
                    <a:pos x="T8" y="T9"/>
                  </a:cxn>
                </a:cxnLst>
                <a:rect l="0" t="0" r="r" b="b"/>
                <a:pathLst>
                  <a:path w="134" h="147">
                    <a:moveTo>
                      <a:pt x="98" y="100"/>
                    </a:moveTo>
                    <a:cubicBezTo>
                      <a:pt x="120" y="73"/>
                      <a:pt x="134" y="36"/>
                      <a:pt x="130" y="0"/>
                    </a:cubicBezTo>
                    <a:cubicBezTo>
                      <a:pt x="99" y="1"/>
                      <a:pt x="61" y="21"/>
                      <a:pt x="38" y="47"/>
                    </a:cubicBezTo>
                    <a:cubicBezTo>
                      <a:pt x="18" y="71"/>
                      <a:pt x="0" y="108"/>
                      <a:pt x="5" y="144"/>
                    </a:cubicBezTo>
                    <a:cubicBezTo>
                      <a:pt x="40" y="147"/>
                      <a:pt x="76" y="126"/>
                      <a:pt x="98" y="100"/>
                    </a:cubicBezTo>
                  </a:path>
                </a:pathLst>
              </a:custGeom>
              <a:solidFill>
                <a:srgbClr val="000000"/>
              </a:solidFill>
              <a:ln>
                <a:noFill/>
              </a:ln>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grpSp>
      </p:grpSp>
      <p:grpSp>
        <p:nvGrpSpPr>
          <p:cNvPr id="24" name="Group 23"/>
          <p:cNvGrpSpPr/>
          <p:nvPr/>
        </p:nvGrpSpPr>
        <p:grpSpPr>
          <a:xfrm>
            <a:off x="1415576" y="5732143"/>
            <a:ext cx="1673577" cy="1294307"/>
            <a:chOff x="1415867" y="5572152"/>
            <a:chExt cx="1622001" cy="1254419"/>
          </a:xfrm>
        </p:grpSpPr>
        <p:grpSp>
          <p:nvGrpSpPr>
            <p:cNvPr id="22" name="Group 21"/>
            <p:cNvGrpSpPr/>
            <p:nvPr/>
          </p:nvGrpSpPr>
          <p:grpSpPr>
            <a:xfrm rot="264667" flipH="1" flipV="1">
              <a:off x="1573177" y="5572152"/>
              <a:ext cx="1232370" cy="1254419"/>
              <a:chOff x="1689290" y="5634216"/>
              <a:chExt cx="1110860" cy="1130733"/>
            </a:xfrm>
          </p:grpSpPr>
          <p:grpSp>
            <p:nvGrpSpPr>
              <p:cNvPr id="6" name="Group 4"/>
              <p:cNvGrpSpPr>
                <a:grpSpLocks noChangeAspect="1"/>
              </p:cNvGrpSpPr>
              <p:nvPr/>
            </p:nvGrpSpPr>
            <p:grpSpPr bwMode="auto">
              <a:xfrm rot="19703189">
                <a:off x="1689290" y="5634216"/>
                <a:ext cx="1110860" cy="1130733"/>
                <a:chOff x="766" y="3573"/>
                <a:chExt cx="559" cy="569"/>
              </a:xfrm>
            </p:grpSpPr>
            <p:sp>
              <p:nvSpPr>
                <p:cNvPr id="17" name="Freeform 5"/>
                <p:cNvSpPr>
                  <a:spLocks noEditPoints="1"/>
                </p:cNvSpPr>
                <p:nvPr/>
              </p:nvSpPr>
              <p:spPr bwMode="auto">
                <a:xfrm>
                  <a:off x="977" y="3794"/>
                  <a:ext cx="348" cy="348"/>
                </a:xfrm>
                <a:custGeom>
                  <a:avLst/>
                  <a:gdLst>
                    <a:gd name="T0" fmla="*/ 52 w 56"/>
                    <a:gd name="T1" fmla="*/ 24 h 56"/>
                    <a:gd name="T2" fmla="*/ 48 w 56"/>
                    <a:gd name="T3" fmla="*/ 14 h 56"/>
                    <a:gd name="T4" fmla="*/ 51 w 56"/>
                    <a:gd name="T5" fmla="*/ 11 h 56"/>
                    <a:gd name="T6" fmla="*/ 45 w 56"/>
                    <a:gd name="T7" fmla="*/ 5 h 56"/>
                    <a:gd name="T8" fmla="*/ 42 w 56"/>
                    <a:gd name="T9" fmla="*/ 8 h 56"/>
                    <a:gd name="T10" fmla="*/ 32 w 56"/>
                    <a:gd name="T11" fmla="*/ 4 h 56"/>
                    <a:gd name="T12" fmla="*/ 32 w 56"/>
                    <a:gd name="T13" fmla="*/ 0 h 56"/>
                    <a:gd name="T14" fmla="*/ 24 w 56"/>
                    <a:gd name="T15" fmla="*/ 0 h 56"/>
                    <a:gd name="T16" fmla="*/ 24 w 56"/>
                    <a:gd name="T17" fmla="*/ 4 h 56"/>
                    <a:gd name="T18" fmla="*/ 14 w 56"/>
                    <a:gd name="T19" fmla="*/ 8 h 56"/>
                    <a:gd name="T20" fmla="*/ 11 w 56"/>
                    <a:gd name="T21" fmla="*/ 5 h 56"/>
                    <a:gd name="T22" fmla="*/ 5 w 56"/>
                    <a:gd name="T23" fmla="*/ 11 h 56"/>
                    <a:gd name="T24" fmla="*/ 8 w 56"/>
                    <a:gd name="T25" fmla="*/ 14 h 56"/>
                    <a:gd name="T26" fmla="*/ 4 w 56"/>
                    <a:gd name="T27" fmla="*/ 24 h 56"/>
                    <a:gd name="T28" fmla="*/ 0 w 56"/>
                    <a:gd name="T29" fmla="*/ 24 h 56"/>
                    <a:gd name="T30" fmla="*/ 0 w 56"/>
                    <a:gd name="T31" fmla="*/ 32 h 56"/>
                    <a:gd name="T32" fmla="*/ 4 w 56"/>
                    <a:gd name="T33" fmla="*/ 32 h 56"/>
                    <a:gd name="T34" fmla="*/ 8 w 56"/>
                    <a:gd name="T35" fmla="*/ 42 h 56"/>
                    <a:gd name="T36" fmla="*/ 5 w 56"/>
                    <a:gd name="T37" fmla="*/ 45 h 56"/>
                    <a:gd name="T38" fmla="*/ 11 w 56"/>
                    <a:gd name="T39" fmla="*/ 51 h 56"/>
                    <a:gd name="T40" fmla="*/ 14 w 56"/>
                    <a:gd name="T41" fmla="*/ 48 h 56"/>
                    <a:gd name="T42" fmla="*/ 24 w 56"/>
                    <a:gd name="T43" fmla="*/ 52 h 56"/>
                    <a:gd name="T44" fmla="*/ 24 w 56"/>
                    <a:gd name="T45" fmla="*/ 56 h 56"/>
                    <a:gd name="T46" fmla="*/ 32 w 56"/>
                    <a:gd name="T47" fmla="*/ 56 h 56"/>
                    <a:gd name="T48" fmla="*/ 32 w 56"/>
                    <a:gd name="T49" fmla="*/ 52 h 56"/>
                    <a:gd name="T50" fmla="*/ 42 w 56"/>
                    <a:gd name="T51" fmla="*/ 48 h 56"/>
                    <a:gd name="T52" fmla="*/ 45 w 56"/>
                    <a:gd name="T53" fmla="*/ 51 h 56"/>
                    <a:gd name="T54" fmla="*/ 51 w 56"/>
                    <a:gd name="T55" fmla="*/ 45 h 56"/>
                    <a:gd name="T56" fmla="*/ 48 w 56"/>
                    <a:gd name="T57" fmla="*/ 42 h 56"/>
                    <a:gd name="T58" fmla="*/ 52 w 56"/>
                    <a:gd name="T59" fmla="*/ 32 h 56"/>
                    <a:gd name="T60" fmla="*/ 56 w 56"/>
                    <a:gd name="T61" fmla="*/ 32 h 56"/>
                    <a:gd name="T62" fmla="*/ 56 w 56"/>
                    <a:gd name="T63" fmla="*/ 24 h 56"/>
                    <a:gd name="T64" fmla="*/ 52 w 56"/>
                    <a:gd name="T65" fmla="*/ 24 h 56"/>
                    <a:gd name="T66" fmla="*/ 28 w 56"/>
                    <a:gd name="T67" fmla="*/ 44 h 56"/>
                    <a:gd name="T68" fmla="*/ 12 w 56"/>
                    <a:gd name="T69" fmla="*/ 28 h 56"/>
                    <a:gd name="T70" fmla="*/ 28 w 56"/>
                    <a:gd name="T71" fmla="*/ 12 h 56"/>
                    <a:gd name="T72" fmla="*/ 44 w 56"/>
                    <a:gd name="T73" fmla="*/ 28 h 56"/>
                    <a:gd name="T74" fmla="*/ 28 w 56"/>
                    <a:gd name="T75" fmla="*/ 4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6" h="56">
                      <a:moveTo>
                        <a:pt x="52" y="24"/>
                      </a:moveTo>
                      <a:cubicBezTo>
                        <a:pt x="51" y="20"/>
                        <a:pt x="50" y="17"/>
                        <a:pt x="48" y="14"/>
                      </a:cubicBezTo>
                      <a:cubicBezTo>
                        <a:pt x="51" y="11"/>
                        <a:pt x="51" y="11"/>
                        <a:pt x="51" y="11"/>
                      </a:cubicBezTo>
                      <a:cubicBezTo>
                        <a:pt x="45" y="5"/>
                        <a:pt x="45" y="5"/>
                        <a:pt x="45" y="5"/>
                      </a:cubicBezTo>
                      <a:cubicBezTo>
                        <a:pt x="42" y="8"/>
                        <a:pt x="42" y="8"/>
                        <a:pt x="42" y="8"/>
                      </a:cubicBezTo>
                      <a:cubicBezTo>
                        <a:pt x="39" y="6"/>
                        <a:pt x="36" y="5"/>
                        <a:pt x="32" y="4"/>
                      </a:cubicBezTo>
                      <a:cubicBezTo>
                        <a:pt x="32" y="0"/>
                        <a:pt x="32" y="0"/>
                        <a:pt x="32" y="0"/>
                      </a:cubicBezTo>
                      <a:cubicBezTo>
                        <a:pt x="24" y="0"/>
                        <a:pt x="24" y="0"/>
                        <a:pt x="24" y="0"/>
                      </a:cubicBezTo>
                      <a:cubicBezTo>
                        <a:pt x="24" y="4"/>
                        <a:pt x="24" y="4"/>
                        <a:pt x="24" y="4"/>
                      </a:cubicBezTo>
                      <a:cubicBezTo>
                        <a:pt x="20" y="5"/>
                        <a:pt x="17" y="6"/>
                        <a:pt x="14" y="8"/>
                      </a:cubicBezTo>
                      <a:cubicBezTo>
                        <a:pt x="11" y="5"/>
                        <a:pt x="11" y="5"/>
                        <a:pt x="11" y="5"/>
                      </a:cubicBezTo>
                      <a:cubicBezTo>
                        <a:pt x="5" y="11"/>
                        <a:pt x="5" y="11"/>
                        <a:pt x="5" y="11"/>
                      </a:cubicBezTo>
                      <a:cubicBezTo>
                        <a:pt x="8" y="14"/>
                        <a:pt x="8" y="14"/>
                        <a:pt x="8" y="14"/>
                      </a:cubicBezTo>
                      <a:cubicBezTo>
                        <a:pt x="6" y="17"/>
                        <a:pt x="5" y="20"/>
                        <a:pt x="4" y="24"/>
                      </a:cubicBezTo>
                      <a:cubicBezTo>
                        <a:pt x="0" y="24"/>
                        <a:pt x="0" y="24"/>
                        <a:pt x="0" y="24"/>
                      </a:cubicBezTo>
                      <a:cubicBezTo>
                        <a:pt x="0" y="32"/>
                        <a:pt x="0" y="32"/>
                        <a:pt x="0" y="32"/>
                      </a:cubicBezTo>
                      <a:cubicBezTo>
                        <a:pt x="4" y="32"/>
                        <a:pt x="4" y="32"/>
                        <a:pt x="4" y="32"/>
                      </a:cubicBezTo>
                      <a:cubicBezTo>
                        <a:pt x="5" y="36"/>
                        <a:pt x="6" y="39"/>
                        <a:pt x="8" y="42"/>
                      </a:cubicBezTo>
                      <a:cubicBezTo>
                        <a:pt x="5" y="45"/>
                        <a:pt x="5" y="45"/>
                        <a:pt x="5" y="45"/>
                      </a:cubicBezTo>
                      <a:cubicBezTo>
                        <a:pt x="11" y="51"/>
                        <a:pt x="11" y="51"/>
                        <a:pt x="11" y="51"/>
                      </a:cubicBezTo>
                      <a:cubicBezTo>
                        <a:pt x="14" y="48"/>
                        <a:pt x="14" y="48"/>
                        <a:pt x="14" y="48"/>
                      </a:cubicBezTo>
                      <a:cubicBezTo>
                        <a:pt x="17" y="50"/>
                        <a:pt x="20" y="51"/>
                        <a:pt x="24" y="52"/>
                      </a:cubicBezTo>
                      <a:cubicBezTo>
                        <a:pt x="24" y="56"/>
                        <a:pt x="24" y="56"/>
                        <a:pt x="24" y="56"/>
                      </a:cubicBezTo>
                      <a:cubicBezTo>
                        <a:pt x="32" y="56"/>
                        <a:pt x="32" y="56"/>
                        <a:pt x="32" y="56"/>
                      </a:cubicBezTo>
                      <a:cubicBezTo>
                        <a:pt x="32" y="52"/>
                        <a:pt x="32" y="52"/>
                        <a:pt x="32" y="52"/>
                      </a:cubicBezTo>
                      <a:cubicBezTo>
                        <a:pt x="36" y="51"/>
                        <a:pt x="39" y="50"/>
                        <a:pt x="42" y="48"/>
                      </a:cubicBezTo>
                      <a:cubicBezTo>
                        <a:pt x="45" y="51"/>
                        <a:pt x="45" y="51"/>
                        <a:pt x="45" y="51"/>
                      </a:cubicBezTo>
                      <a:cubicBezTo>
                        <a:pt x="51" y="45"/>
                        <a:pt x="51" y="45"/>
                        <a:pt x="51" y="45"/>
                      </a:cubicBezTo>
                      <a:cubicBezTo>
                        <a:pt x="48" y="42"/>
                        <a:pt x="48" y="42"/>
                        <a:pt x="48" y="42"/>
                      </a:cubicBezTo>
                      <a:cubicBezTo>
                        <a:pt x="50" y="39"/>
                        <a:pt x="51" y="36"/>
                        <a:pt x="52" y="32"/>
                      </a:cubicBezTo>
                      <a:cubicBezTo>
                        <a:pt x="56" y="32"/>
                        <a:pt x="56" y="32"/>
                        <a:pt x="56" y="32"/>
                      </a:cubicBezTo>
                      <a:cubicBezTo>
                        <a:pt x="56" y="24"/>
                        <a:pt x="56" y="24"/>
                        <a:pt x="56" y="24"/>
                      </a:cubicBezTo>
                      <a:lnTo>
                        <a:pt x="52" y="24"/>
                      </a:lnTo>
                      <a:close/>
                      <a:moveTo>
                        <a:pt x="28" y="44"/>
                      </a:moveTo>
                      <a:cubicBezTo>
                        <a:pt x="19" y="44"/>
                        <a:pt x="12" y="37"/>
                        <a:pt x="12" y="28"/>
                      </a:cubicBezTo>
                      <a:cubicBezTo>
                        <a:pt x="12" y="19"/>
                        <a:pt x="19" y="12"/>
                        <a:pt x="28" y="12"/>
                      </a:cubicBezTo>
                      <a:cubicBezTo>
                        <a:pt x="37" y="12"/>
                        <a:pt x="44" y="19"/>
                        <a:pt x="44" y="28"/>
                      </a:cubicBezTo>
                      <a:cubicBezTo>
                        <a:pt x="44" y="37"/>
                        <a:pt x="37" y="44"/>
                        <a:pt x="28" y="4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 name="Freeform 6"/>
                <p:cNvSpPr>
                  <a:spLocks noEditPoints="1"/>
                </p:cNvSpPr>
                <p:nvPr/>
              </p:nvSpPr>
              <p:spPr bwMode="auto">
                <a:xfrm>
                  <a:off x="766" y="3573"/>
                  <a:ext cx="312" cy="312"/>
                </a:xfrm>
                <a:custGeom>
                  <a:avLst/>
                  <a:gdLst>
                    <a:gd name="T0" fmla="*/ 47 w 54"/>
                    <a:gd name="T1" fmla="*/ 14 h 54"/>
                    <a:gd name="T2" fmla="*/ 40 w 54"/>
                    <a:gd name="T3" fmla="*/ 7 h 54"/>
                    <a:gd name="T4" fmla="*/ 41 w 54"/>
                    <a:gd name="T5" fmla="*/ 3 h 54"/>
                    <a:gd name="T6" fmla="*/ 34 w 54"/>
                    <a:gd name="T7" fmla="*/ 0 h 54"/>
                    <a:gd name="T8" fmla="*/ 32 w 54"/>
                    <a:gd name="T9" fmla="*/ 4 h 54"/>
                    <a:gd name="T10" fmla="*/ 22 w 54"/>
                    <a:gd name="T11" fmla="*/ 4 h 54"/>
                    <a:gd name="T12" fmla="*/ 20 w 54"/>
                    <a:gd name="T13" fmla="*/ 0 h 54"/>
                    <a:gd name="T14" fmla="*/ 13 w 54"/>
                    <a:gd name="T15" fmla="*/ 3 h 54"/>
                    <a:gd name="T16" fmla="*/ 14 w 54"/>
                    <a:gd name="T17" fmla="*/ 7 h 54"/>
                    <a:gd name="T18" fmla="*/ 7 w 54"/>
                    <a:gd name="T19" fmla="*/ 14 h 54"/>
                    <a:gd name="T20" fmla="*/ 3 w 54"/>
                    <a:gd name="T21" fmla="*/ 13 h 54"/>
                    <a:gd name="T22" fmla="*/ 0 w 54"/>
                    <a:gd name="T23" fmla="*/ 20 h 54"/>
                    <a:gd name="T24" fmla="*/ 4 w 54"/>
                    <a:gd name="T25" fmla="*/ 22 h 54"/>
                    <a:gd name="T26" fmla="*/ 4 w 54"/>
                    <a:gd name="T27" fmla="*/ 32 h 54"/>
                    <a:gd name="T28" fmla="*/ 0 w 54"/>
                    <a:gd name="T29" fmla="*/ 34 h 54"/>
                    <a:gd name="T30" fmla="*/ 3 w 54"/>
                    <a:gd name="T31" fmla="*/ 41 h 54"/>
                    <a:gd name="T32" fmla="*/ 7 w 54"/>
                    <a:gd name="T33" fmla="*/ 40 h 54"/>
                    <a:gd name="T34" fmla="*/ 14 w 54"/>
                    <a:gd name="T35" fmla="*/ 47 h 54"/>
                    <a:gd name="T36" fmla="*/ 13 w 54"/>
                    <a:gd name="T37" fmla="*/ 51 h 54"/>
                    <a:gd name="T38" fmla="*/ 20 w 54"/>
                    <a:gd name="T39" fmla="*/ 54 h 54"/>
                    <a:gd name="T40" fmla="*/ 22 w 54"/>
                    <a:gd name="T41" fmla="*/ 50 h 54"/>
                    <a:gd name="T42" fmla="*/ 32 w 54"/>
                    <a:gd name="T43" fmla="*/ 50 h 54"/>
                    <a:gd name="T44" fmla="*/ 34 w 54"/>
                    <a:gd name="T45" fmla="*/ 54 h 54"/>
                    <a:gd name="T46" fmla="*/ 41 w 54"/>
                    <a:gd name="T47" fmla="*/ 51 h 54"/>
                    <a:gd name="T48" fmla="*/ 40 w 54"/>
                    <a:gd name="T49" fmla="*/ 47 h 54"/>
                    <a:gd name="T50" fmla="*/ 47 w 54"/>
                    <a:gd name="T51" fmla="*/ 40 h 54"/>
                    <a:gd name="T52" fmla="*/ 51 w 54"/>
                    <a:gd name="T53" fmla="*/ 41 h 54"/>
                    <a:gd name="T54" fmla="*/ 54 w 54"/>
                    <a:gd name="T55" fmla="*/ 34 h 54"/>
                    <a:gd name="T56" fmla="*/ 50 w 54"/>
                    <a:gd name="T57" fmla="*/ 32 h 54"/>
                    <a:gd name="T58" fmla="*/ 50 w 54"/>
                    <a:gd name="T59" fmla="*/ 22 h 54"/>
                    <a:gd name="T60" fmla="*/ 54 w 54"/>
                    <a:gd name="T61" fmla="*/ 20 h 54"/>
                    <a:gd name="T62" fmla="*/ 51 w 54"/>
                    <a:gd name="T63" fmla="*/ 13 h 54"/>
                    <a:gd name="T64" fmla="*/ 47 w 54"/>
                    <a:gd name="T65" fmla="*/ 14 h 54"/>
                    <a:gd name="T66" fmla="*/ 33 w 54"/>
                    <a:gd name="T67" fmla="*/ 42 h 54"/>
                    <a:gd name="T68" fmla="*/ 12 w 54"/>
                    <a:gd name="T69" fmla="*/ 33 h 54"/>
                    <a:gd name="T70" fmla="*/ 21 w 54"/>
                    <a:gd name="T71" fmla="*/ 12 h 54"/>
                    <a:gd name="T72" fmla="*/ 42 w 54"/>
                    <a:gd name="T73" fmla="*/ 21 h 54"/>
                    <a:gd name="T74" fmla="*/ 33 w 54"/>
                    <a:gd name="T75" fmla="*/ 4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4" h="54">
                      <a:moveTo>
                        <a:pt x="47" y="14"/>
                      </a:moveTo>
                      <a:cubicBezTo>
                        <a:pt x="45" y="11"/>
                        <a:pt x="43" y="9"/>
                        <a:pt x="40" y="7"/>
                      </a:cubicBezTo>
                      <a:cubicBezTo>
                        <a:pt x="41" y="3"/>
                        <a:pt x="41" y="3"/>
                        <a:pt x="41" y="3"/>
                      </a:cubicBezTo>
                      <a:cubicBezTo>
                        <a:pt x="34" y="0"/>
                        <a:pt x="34" y="0"/>
                        <a:pt x="34" y="0"/>
                      </a:cubicBezTo>
                      <a:cubicBezTo>
                        <a:pt x="32" y="4"/>
                        <a:pt x="32" y="4"/>
                        <a:pt x="32" y="4"/>
                      </a:cubicBezTo>
                      <a:cubicBezTo>
                        <a:pt x="29" y="3"/>
                        <a:pt x="25" y="3"/>
                        <a:pt x="22" y="4"/>
                      </a:cubicBezTo>
                      <a:cubicBezTo>
                        <a:pt x="20" y="0"/>
                        <a:pt x="20" y="0"/>
                        <a:pt x="20" y="0"/>
                      </a:cubicBezTo>
                      <a:cubicBezTo>
                        <a:pt x="13" y="3"/>
                        <a:pt x="13" y="3"/>
                        <a:pt x="13" y="3"/>
                      </a:cubicBezTo>
                      <a:cubicBezTo>
                        <a:pt x="14" y="7"/>
                        <a:pt x="14" y="7"/>
                        <a:pt x="14" y="7"/>
                      </a:cubicBezTo>
                      <a:cubicBezTo>
                        <a:pt x="11" y="9"/>
                        <a:pt x="9" y="11"/>
                        <a:pt x="7" y="14"/>
                      </a:cubicBezTo>
                      <a:cubicBezTo>
                        <a:pt x="3" y="13"/>
                        <a:pt x="3" y="13"/>
                        <a:pt x="3" y="13"/>
                      </a:cubicBezTo>
                      <a:cubicBezTo>
                        <a:pt x="0" y="20"/>
                        <a:pt x="0" y="20"/>
                        <a:pt x="0" y="20"/>
                      </a:cubicBezTo>
                      <a:cubicBezTo>
                        <a:pt x="4" y="22"/>
                        <a:pt x="4" y="22"/>
                        <a:pt x="4" y="22"/>
                      </a:cubicBezTo>
                      <a:cubicBezTo>
                        <a:pt x="3" y="25"/>
                        <a:pt x="3" y="29"/>
                        <a:pt x="4" y="32"/>
                      </a:cubicBezTo>
                      <a:cubicBezTo>
                        <a:pt x="0" y="34"/>
                        <a:pt x="0" y="34"/>
                        <a:pt x="0" y="34"/>
                      </a:cubicBezTo>
                      <a:cubicBezTo>
                        <a:pt x="3" y="41"/>
                        <a:pt x="3" y="41"/>
                        <a:pt x="3" y="41"/>
                      </a:cubicBezTo>
                      <a:cubicBezTo>
                        <a:pt x="7" y="40"/>
                        <a:pt x="7" y="40"/>
                        <a:pt x="7" y="40"/>
                      </a:cubicBezTo>
                      <a:cubicBezTo>
                        <a:pt x="9" y="43"/>
                        <a:pt x="11" y="45"/>
                        <a:pt x="14" y="47"/>
                      </a:cubicBezTo>
                      <a:cubicBezTo>
                        <a:pt x="13" y="51"/>
                        <a:pt x="13" y="51"/>
                        <a:pt x="13" y="51"/>
                      </a:cubicBezTo>
                      <a:cubicBezTo>
                        <a:pt x="20" y="54"/>
                        <a:pt x="20" y="54"/>
                        <a:pt x="20" y="54"/>
                      </a:cubicBezTo>
                      <a:cubicBezTo>
                        <a:pt x="22" y="50"/>
                        <a:pt x="22" y="50"/>
                        <a:pt x="22" y="50"/>
                      </a:cubicBezTo>
                      <a:cubicBezTo>
                        <a:pt x="25" y="51"/>
                        <a:pt x="29" y="51"/>
                        <a:pt x="32" y="50"/>
                      </a:cubicBezTo>
                      <a:cubicBezTo>
                        <a:pt x="34" y="54"/>
                        <a:pt x="34" y="54"/>
                        <a:pt x="34" y="54"/>
                      </a:cubicBezTo>
                      <a:cubicBezTo>
                        <a:pt x="41" y="51"/>
                        <a:pt x="41" y="51"/>
                        <a:pt x="41" y="51"/>
                      </a:cubicBezTo>
                      <a:cubicBezTo>
                        <a:pt x="40" y="47"/>
                        <a:pt x="40" y="47"/>
                        <a:pt x="40" y="47"/>
                      </a:cubicBezTo>
                      <a:cubicBezTo>
                        <a:pt x="43" y="45"/>
                        <a:pt x="45" y="43"/>
                        <a:pt x="47" y="40"/>
                      </a:cubicBezTo>
                      <a:cubicBezTo>
                        <a:pt x="51" y="41"/>
                        <a:pt x="51" y="41"/>
                        <a:pt x="51" y="41"/>
                      </a:cubicBezTo>
                      <a:cubicBezTo>
                        <a:pt x="54" y="34"/>
                        <a:pt x="54" y="34"/>
                        <a:pt x="54" y="34"/>
                      </a:cubicBezTo>
                      <a:cubicBezTo>
                        <a:pt x="50" y="32"/>
                        <a:pt x="50" y="32"/>
                        <a:pt x="50" y="32"/>
                      </a:cubicBezTo>
                      <a:cubicBezTo>
                        <a:pt x="51" y="29"/>
                        <a:pt x="51" y="25"/>
                        <a:pt x="50" y="22"/>
                      </a:cubicBezTo>
                      <a:cubicBezTo>
                        <a:pt x="54" y="20"/>
                        <a:pt x="54" y="20"/>
                        <a:pt x="54" y="20"/>
                      </a:cubicBezTo>
                      <a:cubicBezTo>
                        <a:pt x="51" y="13"/>
                        <a:pt x="51" y="13"/>
                        <a:pt x="51" y="13"/>
                      </a:cubicBezTo>
                      <a:lnTo>
                        <a:pt x="47" y="14"/>
                      </a:lnTo>
                      <a:close/>
                      <a:moveTo>
                        <a:pt x="33" y="42"/>
                      </a:moveTo>
                      <a:cubicBezTo>
                        <a:pt x="25" y="45"/>
                        <a:pt x="16" y="41"/>
                        <a:pt x="12" y="33"/>
                      </a:cubicBezTo>
                      <a:cubicBezTo>
                        <a:pt x="9" y="25"/>
                        <a:pt x="13" y="16"/>
                        <a:pt x="21" y="12"/>
                      </a:cubicBezTo>
                      <a:cubicBezTo>
                        <a:pt x="29" y="9"/>
                        <a:pt x="38" y="13"/>
                        <a:pt x="42" y="21"/>
                      </a:cubicBezTo>
                      <a:cubicBezTo>
                        <a:pt x="45" y="29"/>
                        <a:pt x="41" y="38"/>
                        <a:pt x="33" y="4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grpSp>
          <p:sp>
            <p:nvSpPr>
              <p:cNvPr id="21" name="Oval 20"/>
              <p:cNvSpPr/>
              <p:nvPr/>
            </p:nvSpPr>
            <p:spPr bwMode="auto">
              <a:xfrm>
                <a:off x="1702592" y="5899333"/>
                <a:ext cx="410452" cy="410452"/>
              </a:xfrm>
              <a:prstGeom prst="ellipse">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 name="Oval 51"/>
              <p:cNvSpPr/>
              <p:nvPr/>
            </p:nvSpPr>
            <p:spPr bwMode="auto">
              <a:xfrm>
                <a:off x="2330555" y="6048393"/>
                <a:ext cx="447553" cy="447553"/>
              </a:xfrm>
              <a:prstGeom prst="ellipse">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3" name="TextBox 22"/>
            <p:cNvSpPr txBox="1"/>
            <p:nvPr/>
          </p:nvSpPr>
          <p:spPr>
            <a:xfrm>
              <a:off x="1415867" y="5777408"/>
              <a:ext cx="880427" cy="683264"/>
            </a:xfrm>
            <a:prstGeom prst="rect">
              <a:avLst/>
            </a:prstGeom>
            <a:noFill/>
          </p:spPr>
          <p:txBody>
            <a:bodyPr wrap="square" lIns="186521" tIns="149217" rIns="186521" bIns="149217" rtlCol="0">
              <a:spAutoFit/>
            </a:bodyPr>
            <a:lstStyle/>
            <a:p>
              <a:pPr marL="0" marR="0" lvl="0" indent="0" algn="ctr" defTabSz="932597" rtl="0" eaLnBrk="1" fontAlgn="auto" latinLnBrk="0" hangingPunct="1">
                <a:lnSpc>
                  <a:spcPct val="90000"/>
                </a:lnSpc>
                <a:spcBef>
                  <a:spcPts val="0"/>
                </a:spcBef>
                <a:spcAft>
                  <a:spcPts val="612"/>
                </a:spcAft>
                <a:buClrTx/>
                <a:buSzTx/>
                <a:buFontTx/>
                <a:buNone/>
                <a:tabLst/>
                <a:defRPr/>
              </a:pPr>
              <a:r>
                <a:rPr kumimoji="0" lang="en-US" sz="1428" b="1" i="0" u="none" strike="noStrike" kern="0" cap="none" spc="0" normalizeH="0" baseline="0" noProof="0" dirty="0">
                  <a:ln>
                    <a:noFill/>
                  </a:ln>
                  <a:gradFill>
                    <a:gsLst>
                      <a:gs pos="2917">
                        <a:srgbClr val="FFFFFF"/>
                      </a:gs>
                      <a:gs pos="30000">
                        <a:srgbClr val="FFFFFF"/>
                      </a:gs>
                    </a:gsLst>
                    <a:lin ang="5400000" scaled="0"/>
                  </a:gradFill>
                  <a:effectLst/>
                  <a:uLnTx/>
                  <a:uFillTx/>
                  <a:latin typeface="Segoe UI"/>
                  <a:ea typeface="+mn-ea"/>
                  <a:cs typeface="Segoe UI Semibold" panose="020B0702040204020203" pitchFamily="34" charset="0"/>
                </a:rPr>
                <a:t>GET A</a:t>
              </a:r>
              <a:br>
                <a:rPr kumimoji="0" lang="en-US" sz="1428" b="1" i="0" u="none" strike="noStrike" kern="0" cap="none" spc="0" normalizeH="0" baseline="0" noProof="0" dirty="0">
                  <a:ln>
                    <a:noFill/>
                  </a:ln>
                  <a:gradFill>
                    <a:gsLst>
                      <a:gs pos="2917">
                        <a:srgbClr val="FFFFFF"/>
                      </a:gs>
                      <a:gs pos="30000">
                        <a:srgbClr val="FFFFFF"/>
                      </a:gs>
                    </a:gsLst>
                    <a:lin ang="5400000" scaled="0"/>
                  </a:gradFill>
                  <a:effectLst/>
                  <a:uLnTx/>
                  <a:uFillTx/>
                  <a:latin typeface="Segoe UI"/>
                  <a:ea typeface="+mn-ea"/>
                  <a:cs typeface="Segoe UI Semibold" panose="020B0702040204020203" pitchFamily="34" charset="0"/>
                </a:rPr>
              </a:br>
              <a:r>
                <a:rPr kumimoji="0" lang="en-US" sz="1428" b="1" i="0" u="none" strike="noStrike" kern="0" cap="none" spc="0" normalizeH="0" baseline="0" noProof="0" dirty="0">
                  <a:ln>
                    <a:noFill/>
                  </a:ln>
                  <a:gradFill>
                    <a:gsLst>
                      <a:gs pos="2917">
                        <a:srgbClr val="FFFFFF"/>
                      </a:gs>
                      <a:gs pos="30000">
                        <a:srgbClr val="FFFFFF"/>
                      </a:gs>
                    </a:gsLst>
                    <a:lin ang="5400000" scaled="0"/>
                  </a:gradFill>
                  <a:effectLst/>
                  <a:uLnTx/>
                  <a:uFillTx/>
                  <a:latin typeface="Segoe UI"/>
                  <a:ea typeface="+mn-ea"/>
                  <a:cs typeface="Segoe UI Semibold" panose="020B0702040204020203" pitchFamily="34" charset="0"/>
                </a:rPr>
                <a:t> KEY</a:t>
              </a:r>
            </a:p>
          </p:txBody>
        </p:sp>
        <p:sp>
          <p:nvSpPr>
            <p:cNvPr id="53" name="TextBox 52"/>
            <p:cNvSpPr txBox="1"/>
            <p:nvPr/>
          </p:nvSpPr>
          <p:spPr>
            <a:xfrm>
              <a:off x="2105711" y="6093783"/>
              <a:ext cx="932157" cy="489365"/>
            </a:xfrm>
            <a:prstGeom prst="rect">
              <a:avLst/>
            </a:prstGeom>
            <a:noFill/>
          </p:spPr>
          <p:txBody>
            <a:bodyPr wrap="square" lIns="186521" tIns="149217" rIns="186521" bIns="149217" rtlCol="0">
              <a:spAutoFit/>
            </a:bodyPr>
            <a:lstStyle/>
            <a:p>
              <a:pPr marL="0" marR="0" lvl="0" indent="0" algn="ctr" defTabSz="932597" rtl="0" eaLnBrk="1" fontAlgn="auto" latinLnBrk="0" hangingPunct="1">
                <a:lnSpc>
                  <a:spcPct val="90000"/>
                </a:lnSpc>
                <a:spcBef>
                  <a:spcPts val="0"/>
                </a:spcBef>
                <a:spcAft>
                  <a:spcPts val="612"/>
                </a:spcAft>
                <a:buClrTx/>
                <a:buSzTx/>
                <a:buFontTx/>
                <a:buNone/>
                <a:tabLst/>
                <a:defRPr/>
              </a:pPr>
              <a:r>
                <a:rPr kumimoji="0" lang="en-US" sz="1428" b="1" i="0" u="none" strike="noStrike" kern="0" cap="none" spc="0" normalizeH="0" baseline="0" noProof="0" dirty="0">
                  <a:ln>
                    <a:noFill/>
                  </a:ln>
                  <a:gradFill>
                    <a:gsLst>
                      <a:gs pos="2917">
                        <a:srgbClr val="FFFFFF"/>
                      </a:gs>
                      <a:gs pos="30000">
                        <a:srgbClr val="FFFFFF"/>
                      </a:gs>
                    </a:gsLst>
                    <a:lin ang="5400000" scaled="0"/>
                  </a:gradFill>
                  <a:effectLst/>
                  <a:uLnTx/>
                  <a:uFillTx/>
                  <a:latin typeface="Segoe UI"/>
                  <a:ea typeface="+mn-ea"/>
                  <a:cs typeface="Segoe UI Semibold" panose="020B0702040204020203" pitchFamily="34" charset="0"/>
                </a:rPr>
                <a:t>BUILD</a:t>
              </a:r>
            </a:p>
          </p:txBody>
        </p:sp>
      </p:grpSp>
      <p:sp>
        <p:nvSpPr>
          <p:cNvPr id="3" name="Rectangle 2"/>
          <p:cNvSpPr/>
          <p:nvPr/>
        </p:nvSpPr>
        <p:spPr bwMode="auto">
          <a:xfrm>
            <a:off x="882" y="5861839"/>
            <a:ext cx="12159478" cy="1216244"/>
          </a:xfrm>
          <a:prstGeom prst="rect">
            <a:avLst/>
          </a:prstGeom>
          <a:solidFill>
            <a:srgbClr val="EAEAEA">
              <a:alpha val="3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 name="Title 1">
            <a:extLst>
              <a:ext uri="{FF2B5EF4-FFF2-40B4-BE49-F238E27FC236}">
                <a16:creationId xmlns:a16="http://schemas.microsoft.com/office/drawing/2014/main" id="{BCFCD9DA-8B64-421B-BE0E-C51775F88D33}"/>
              </a:ext>
            </a:extLst>
          </p:cNvPr>
          <p:cNvSpPr txBox="1">
            <a:spLocks/>
          </p:cNvSpPr>
          <p:nvPr/>
        </p:nvSpPr>
        <p:spPr>
          <a:xfrm>
            <a:off x="135839" y="1612302"/>
            <a:ext cx="11889564" cy="1830387"/>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GB" sz="4896">
                <a:gradFill>
                  <a:gsLst>
                    <a:gs pos="1250">
                      <a:schemeClr val="bg1"/>
                    </a:gs>
                    <a:gs pos="100000">
                      <a:schemeClr val="bg1"/>
                    </a:gs>
                  </a:gsLst>
                  <a:lin ang="5400000" scaled="0"/>
                </a:gradFill>
              </a:rPr>
              <a:t>Why Microsoft </a:t>
            </a:r>
            <a:br>
              <a:rPr lang="en-GB" sz="4896">
                <a:gradFill>
                  <a:gsLst>
                    <a:gs pos="1250">
                      <a:schemeClr val="bg1"/>
                    </a:gs>
                    <a:gs pos="100000">
                      <a:schemeClr val="bg1"/>
                    </a:gs>
                  </a:gsLst>
                  <a:lin ang="5400000" scaled="0"/>
                </a:gradFill>
              </a:rPr>
            </a:br>
            <a:r>
              <a:rPr lang="en-GB" sz="4896">
                <a:gradFill>
                  <a:gsLst>
                    <a:gs pos="1250">
                      <a:schemeClr val="bg1"/>
                    </a:gs>
                    <a:gs pos="100000">
                      <a:schemeClr val="bg1"/>
                    </a:gs>
                  </a:gsLst>
                  <a:lin ang="5400000" scaled="0"/>
                </a:gradFill>
              </a:rPr>
              <a:t>Cognitive Services ?</a:t>
            </a:r>
          </a:p>
        </p:txBody>
      </p:sp>
    </p:spTree>
    <p:custDataLst>
      <p:tags r:id="rId1"/>
    </p:custDataLst>
    <p:extLst>
      <p:ext uri="{BB962C8B-B14F-4D97-AF65-F5344CB8AC3E}">
        <p14:creationId xmlns:p14="http://schemas.microsoft.com/office/powerpoint/2010/main" val="14680011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4" cstate="screen">
            <a:grayscl/>
            <a:extLst>
              <a:ext uri="{28A0092B-C50C-407E-A947-70E740481C1C}">
                <a14:useLocalDpi xmlns:a14="http://schemas.microsoft.com/office/drawing/2010/main" val="0"/>
              </a:ext>
            </a:extLst>
          </a:blip>
          <a:srcRect l="16265" t="3005" r="6165" b="1684"/>
          <a:stretch/>
        </p:blipFill>
        <p:spPr>
          <a:xfrm>
            <a:off x="4846833" y="497"/>
            <a:ext cx="7588761" cy="6993533"/>
          </a:xfrm>
          <a:prstGeom prst="rect">
            <a:avLst/>
          </a:prstGeom>
        </p:spPr>
      </p:pic>
      <p:sp>
        <p:nvSpPr>
          <p:cNvPr id="11" name="Rectangle 10"/>
          <p:cNvSpPr/>
          <p:nvPr/>
        </p:nvSpPr>
        <p:spPr bwMode="auto">
          <a:xfrm>
            <a:off x="4846833" y="497"/>
            <a:ext cx="7588761" cy="6994028"/>
          </a:xfrm>
          <a:prstGeom prst="rect">
            <a:avLst/>
          </a:prstGeom>
          <a:gradFill flip="none" rotWithShape="1">
            <a:gsLst>
              <a:gs pos="2917">
                <a:srgbClr val="000000">
                  <a:alpha val="85000"/>
                </a:srgbClr>
              </a:gs>
              <a:gs pos="50000">
                <a:srgbClr val="000000">
                  <a:alpha val="70000"/>
                </a:srgbClr>
              </a:gs>
              <a:gs pos="76000">
                <a:srgbClr val="000000">
                  <a:alpha val="50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Rectangle 1"/>
          <p:cNvSpPr/>
          <p:nvPr/>
        </p:nvSpPr>
        <p:spPr bwMode="auto">
          <a:xfrm>
            <a:off x="4846833" y="497"/>
            <a:ext cx="7588761" cy="6994028"/>
          </a:xfrm>
          <a:prstGeom prst="rect">
            <a:avLst/>
          </a:prstGeom>
          <a:solidFill>
            <a:schemeClr val="accent5">
              <a:alpha val="8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Rectangle 4"/>
          <p:cNvSpPr/>
          <p:nvPr/>
        </p:nvSpPr>
        <p:spPr>
          <a:xfrm>
            <a:off x="567712" y="1817912"/>
            <a:ext cx="3207889" cy="3662541"/>
          </a:xfrm>
          <a:prstGeom prst="rect">
            <a:avLst/>
          </a:prstGeom>
        </p:spPr>
        <p:txBody>
          <a:bodyPr wrap="square">
            <a:spAutoFit/>
          </a:bodyPr>
          <a:lstStyle/>
          <a:p>
            <a:pPr marL="0" marR="0" lvl="0" indent="0" algn="l" defTabSz="932597" rtl="0" eaLnBrk="1" fontAlgn="auto" latinLnBrk="0" hangingPunct="1">
              <a:lnSpc>
                <a:spcPct val="100000"/>
              </a:lnSpc>
              <a:spcBef>
                <a:spcPts val="0"/>
              </a:spcBef>
              <a:spcAft>
                <a:spcPts val="1199"/>
              </a:spcAft>
              <a:buClrTx/>
              <a:buSzTx/>
              <a:buFontTx/>
              <a:buNone/>
              <a:tabLst/>
              <a:defRPr/>
            </a:pPr>
            <a:r>
              <a:rPr kumimoji="0" lang="en-US" altLang="en-US" sz="5000" b="0" i="0" u="none" strike="noStrike" kern="0" cap="none" spc="0" normalizeH="0" baseline="0" noProof="0" dirty="0">
                <a:ln>
                  <a:noFill/>
                </a:ln>
                <a:solidFill>
                  <a:sysClr val="windowText" lastClr="000000"/>
                </a:solidFill>
                <a:effectLst/>
                <a:uLnTx/>
                <a:uFillTx/>
                <a:latin typeface="Segoe UI Light"/>
                <a:ea typeface="+mn-ea"/>
                <a:cs typeface="+mn-cs"/>
              </a:rPr>
              <a:t>Microsoft </a:t>
            </a:r>
            <a:br>
              <a:rPr kumimoji="0" lang="en-US" altLang="en-US" sz="5000" b="0" i="0" u="none" strike="noStrike" kern="0" cap="none" spc="0" normalizeH="0" baseline="0" noProof="0" dirty="0">
                <a:ln>
                  <a:noFill/>
                </a:ln>
                <a:solidFill>
                  <a:sysClr val="windowText" lastClr="000000"/>
                </a:solidFill>
                <a:effectLst/>
                <a:uLnTx/>
                <a:uFillTx/>
                <a:latin typeface="Segoe UI Light"/>
                <a:ea typeface="+mn-ea"/>
                <a:cs typeface="+mn-cs"/>
              </a:rPr>
            </a:br>
            <a:r>
              <a:rPr kumimoji="0" lang="en-US" altLang="en-US" sz="5000" b="0" i="0" u="none" strike="noStrike" kern="0" cap="none" spc="0" normalizeH="0" baseline="0" noProof="0" dirty="0">
                <a:ln>
                  <a:noFill/>
                </a:ln>
                <a:solidFill>
                  <a:sysClr val="windowText" lastClr="000000"/>
                </a:solidFill>
                <a:effectLst/>
                <a:uLnTx/>
                <a:uFillTx/>
                <a:latin typeface="Segoe UI Light"/>
                <a:ea typeface="+mn-ea"/>
                <a:cs typeface="+mn-cs"/>
              </a:rPr>
              <a:t>Cognitive </a:t>
            </a:r>
            <a:br>
              <a:rPr kumimoji="0" lang="en-US" altLang="en-US" sz="5000" b="0" i="0" u="none" strike="noStrike" kern="0" cap="none" spc="0" normalizeH="0" baseline="0" noProof="0" dirty="0">
                <a:ln>
                  <a:noFill/>
                </a:ln>
                <a:solidFill>
                  <a:sysClr val="windowText" lastClr="000000"/>
                </a:solidFill>
                <a:effectLst/>
                <a:uLnTx/>
                <a:uFillTx/>
                <a:latin typeface="Segoe UI Light"/>
                <a:ea typeface="+mn-ea"/>
                <a:cs typeface="+mn-cs"/>
              </a:rPr>
            </a:br>
            <a:r>
              <a:rPr kumimoji="0" lang="en-US" altLang="en-US" sz="5000" b="0" i="0" u="none" strike="noStrike" kern="0" cap="none" spc="0" normalizeH="0" baseline="0" noProof="0" dirty="0">
                <a:ln>
                  <a:noFill/>
                </a:ln>
                <a:solidFill>
                  <a:sysClr val="windowText" lastClr="000000"/>
                </a:solidFill>
                <a:effectLst/>
                <a:uLnTx/>
                <a:uFillTx/>
                <a:latin typeface="Segoe UI Light"/>
                <a:ea typeface="+mn-ea"/>
                <a:cs typeface="+mn-cs"/>
              </a:rPr>
              <a:t>Services</a:t>
            </a:r>
          </a:p>
          <a:p>
            <a:pPr marL="0" marR="0" lvl="0" indent="0" algn="l" defTabSz="932597" rtl="0" eaLnBrk="1" fontAlgn="auto" latinLnBrk="0" hangingPunct="1">
              <a:lnSpc>
                <a:spcPct val="100000"/>
              </a:lnSpc>
              <a:spcBef>
                <a:spcPts val="0"/>
              </a:spcBef>
              <a:spcAft>
                <a:spcPts val="1199"/>
              </a:spcAft>
              <a:buClrTx/>
              <a:buSzTx/>
              <a:buFontTx/>
              <a:buNone/>
              <a:tabLst/>
              <a:defRPr/>
            </a:pPr>
            <a:r>
              <a:rPr kumimoji="0" lang="en-US" sz="3600" b="0" i="0" u="none" strike="noStrike" kern="0" cap="none" spc="0" normalizeH="0" baseline="0" noProof="0" dirty="0">
                <a:ln>
                  <a:noFill/>
                </a:ln>
                <a:gradFill>
                  <a:gsLst>
                    <a:gs pos="0">
                      <a:srgbClr val="008272"/>
                    </a:gs>
                    <a:gs pos="100000">
                      <a:srgbClr val="008272"/>
                    </a:gs>
                  </a:gsLst>
                  <a:lin ang="5400000" scaled="0"/>
                </a:gradFill>
                <a:effectLst/>
                <a:uLnTx/>
                <a:uFillTx/>
                <a:latin typeface="Segoe UI Light"/>
                <a:ea typeface="+mn-ea"/>
                <a:cs typeface="+mn-cs"/>
              </a:rPr>
              <a:t>Give your apps </a:t>
            </a:r>
            <a:br>
              <a:rPr kumimoji="0" lang="en-US" sz="3600" b="0" i="0" u="none" strike="noStrike" kern="0" cap="none" spc="0" normalizeH="0" baseline="0" noProof="0" dirty="0">
                <a:ln>
                  <a:noFill/>
                </a:ln>
                <a:gradFill>
                  <a:gsLst>
                    <a:gs pos="0">
                      <a:srgbClr val="008272"/>
                    </a:gs>
                    <a:gs pos="100000">
                      <a:srgbClr val="008272"/>
                    </a:gs>
                  </a:gsLst>
                  <a:lin ang="5400000" scaled="0"/>
                </a:gradFill>
                <a:effectLst/>
                <a:uLnTx/>
                <a:uFillTx/>
                <a:latin typeface="Segoe UI Light"/>
                <a:ea typeface="+mn-ea"/>
                <a:cs typeface="+mn-cs"/>
              </a:rPr>
            </a:br>
            <a:r>
              <a:rPr kumimoji="0" lang="en-US" sz="3600" b="0" i="0" u="none" strike="noStrike" kern="0" cap="none" spc="0" normalizeH="0" baseline="0" noProof="0" dirty="0">
                <a:ln>
                  <a:noFill/>
                </a:ln>
                <a:gradFill>
                  <a:gsLst>
                    <a:gs pos="0">
                      <a:srgbClr val="008272"/>
                    </a:gs>
                    <a:gs pos="100000">
                      <a:srgbClr val="008272"/>
                    </a:gs>
                  </a:gsLst>
                  <a:lin ang="5400000" scaled="0"/>
                </a:gradFill>
                <a:effectLst/>
                <a:uLnTx/>
                <a:uFillTx/>
                <a:latin typeface="Segoe UI Light"/>
                <a:ea typeface="+mn-ea"/>
                <a:cs typeface="+mn-cs"/>
              </a:rPr>
              <a:t>a human side</a:t>
            </a:r>
          </a:p>
        </p:txBody>
      </p:sp>
      <p:sp>
        <p:nvSpPr>
          <p:cNvPr id="6" name="TextBox 5"/>
          <p:cNvSpPr txBox="1"/>
          <p:nvPr/>
        </p:nvSpPr>
        <p:spPr>
          <a:xfrm>
            <a:off x="6403730" y="968550"/>
            <a:ext cx="4663017" cy="1299635"/>
          </a:xfrm>
          <a:prstGeom prst="rect">
            <a:avLst/>
          </a:prstGeom>
          <a:noFill/>
        </p:spPr>
        <p:txBody>
          <a:bodyPr wrap="square" lIns="186521" tIns="149217" rIns="186521" bIns="149217" rtlCol="0">
            <a:spAutoFit/>
          </a:bodyPr>
          <a:lstStyle/>
          <a:p>
            <a:pPr marL="0" marR="0" lvl="0" indent="0" algn="l" defTabSz="932597" rtl="0" eaLnBrk="1" fontAlgn="auto" latinLnBrk="0" hangingPunct="1">
              <a:lnSpc>
                <a:spcPct val="90000"/>
              </a:lnSpc>
              <a:spcBef>
                <a:spcPts val="0"/>
              </a:spcBef>
              <a:spcAft>
                <a:spcPts val="612"/>
              </a:spcAft>
              <a:buClrTx/>
              <a:buSzTx/>
              <a:buFontTx/>
              <a:buNone/>
              <a:tabLst/>
              <a:defRPr/>
            </a:pPr>
            <a:r>
              <a:rPr kumimoji="0" lang="en-US" sz="2652"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Vision</a:t>
            </a:r>
          </a:p>
          <a:p>
            <a:pPr marL="0" marR="0" lvl="0" indent="0" algn="l" defTabSz="932597" rtl="0" eaLnBrk="1" fontAlgn="auto" latinLnBrk="0" hangingPunct="1">
              <a:lnSpc>
                <a:spcPct val="90000"/>
              </a:lnSpc>
              <a:spcBef>
                <a:spcPts val="0"/>
              </a:spcBef>
              <a:spcAft>
                <a:spcPts val="612"/>
              </a:spcAft>
              <a:buClrTx/>
              <a:buSzTx/>
              <a:buFontTx/>
              <a:buNone/>
              <a:tabLst/>
              <a:defRPr/>
            </a:pPr>
            <a:r>
              <a:rPr kumimoji="0" lang="en-US" sz="2000" b="0" i="0" u="none" strike="noStrike" kern="0" cap="none" spc="0" normalizeH="0" baseline="0" noProof="0" dirty="0">
                <a:ln>
                  <a:noFill/>
                </a:ln>
                <a:solidFill>
                  <a:srgbClr val="FFFFFF"/>
                </a:solidFill>
                <a:effectLst/>
                <a:uLnTx/>
                <a:uFillTx/>
                <a:latin typeface="Segoe UI Light"/>
                <a:ea typeface="+mn-ea"/>
                <a:cs typeface="+mn-cs"/>
              </a:rPr>
              <a:t>From faces to feelings, allow your </a:t>
            </a:r>
            <a:br>
              <a:rPr kumimoji="0" lang="en-US" sz="2000" b="0" i="0" u="none" strike="noStrike" kern="0" cap="none" spc="0" normalizeH="0" baseline="0" noProof="0" dirty="0">
                <a:ln>
                  <a:noFill/>
                </a:ln>
                <a:solidFill>
                  <a:srgbClr val="FFFFFF"/>
                </a:solidFill>
                <a:effectLst/>
                <a:uLnTx/>
                <a:uFillTx/>
                <a:latin typeface="Segoe UI Light"/>
                <a:ea typeface="+mn-ea"/>
                <a:cs typeface="+mn-cs"/>
              </a:rPr>
            </a:br>
            <a:r>
              <a:rPr kumimoji="0" lang="en-US" sz="2000" b="0" i="0" u="none" strike="noStrike" kern="0" cap="none" spc="0" normalizeH="0" baseline="0" noProof="0" dirty="0">
                <a:ln>
                  <a:noFill/>
                </a:ln>
                <a:solidFill>
                  <a:srgbClr val="FFFFFF"/>
                </a:solidFill>
                <a:effectLst/>
                <a:uLnTx/>
                <a:uFillTx/>
                <a:latin typeface="Segoe UI Light"/>
                <a:ea typeface="+mn-ea"/>
                <a:cs typeface="+mn-cs"/>
              </a:rPr>
              <a:t>apps to understand images and video</a:t>
            </a:r>
          </a:p>
        </p:txBody>
      </p:sp>
      <p:sp>
        <p:nvSpPr>
          <p:cNvPr id="7" name="TextBox 6"/>
          <p:cNvSpPr txBox="1"/>
          <p:nvPr/>
        </p:nvSpPr>
        <p:spPr>
          <a:xfrm>
            <a:off x="6403730" y="2136779"/>
            <a:ext cx="5605707" cy="1299635"/>
          </a:xfrm>
          <a:prstGeom prst="rect">
            <a:avLst/>
          </a:prstGeom>
          <a:noFill/>
        </p:spPr>
        <p:txBody>
          <a:bodyPr wrap="square" lIns="186521" tIns="149217" rIns="186521" bIns="149217" rtlCol="0">
            <a:spAutoFit/>
          </a:bodyPr>
          <a:lstStyle/>
          <a:p>
            <a:pPr marL="0" marR="0" lvl="0" indent="0" algn="l" defTabSz="932597" rtl="0" eaLnBrk="1" fontAlgn="auto" latinLnBrk="0" hangingPunct="1">
              <a:lnSpc>
                <a:spcPct val="90000"/>
              </a:lnSpc>
              <a:spcBef>
                <a:spcPts val="0"/>
              </a:spcBef>
              <a:spcAft>
                <a:spcPts val="612"/>
              </a:spcAft>
              <a:buClrTx/>
              <a:buSzTx/>
              <a:buFontTx/>
              <a:buNone/>
              <a:tabLst/>
              <a:defRPr/>
            </a:pPr>
            <a:r>
              <a:rPr kumimoji="0" lang="en-US" sz="2652"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Speech</a:t>
            </a:r>
          </a:p>
          <a:p>
            <a:pPr marL="0" marR="0" lvl="0" indent="0" algn="l" defTabSz="932597" rtl="0" eaLnBrk="1" fontAlgn="auto" latinLnBrk="0" hangingPunct="1">
              <a:lnSpc>
                <a:spcPct val="90000"/>
              </a:lnSpc>
              <a:spcBef>
                <a:spcPts val="0"/>
              </a:spcBef>
              <a:spcAft>
                <a:spcPts val="612"/>
              </a:spcAft>
              <a:buClrTx/>
              <a:buSzTx/>
              <a:buFontTx/>
              <a:buNone/>
              <a:tabLst/>
              <a:defRPr/>
            </a:pPr>
            <a:r>
              <a:rPr kumimoji="0" lang="en-US" sz="2000" b="0" i="0" u="none" strike="noStrike" kern="0" cap="none" spc="0" normalizeH="0" baseline="0" noProof="0" dirty="0">
                <a:ln>
                  <a:noFill/>
                </a:ln>
                <a:solidFill>
                  <a:srgbClr val="FFFFFF"/>
                </a:solidFill>
                <a:effectLst/>
                <a:uLnTx/>
                <a:uFillTx/>
                <a:latin typeface="Segoe UI Light"/>
                <a:ea typeface="+mn-ea"/>
                <a:cs typeface="+mn-cs"/>
              </a:rPr>
              <a:t>Hear and speak to your users by filtering noise, identifying speakers, and understanding intent</a:t>
            </a:r>
          </a:p>
        </p:txBody>
      </p:sp>
      <p:sp>
        <p:nvSpPr>
          <p:cNvPr id="8" name="TextBox 7"/>
          <p:cNvSpPr txBox="1"/>
          <p:nvPr/>
        </p:nvSpPr>
        <p:spPr>
          <a:xfrm>
            <a:off x="6403731" y="3305007"/>
            <a:ext cx="4310306" cy="1299635"/>
          </a:xfrm>
          <a:prstGeom prst="rect">
            <a:avLst/>
          </a:prstGeom>
          <a:noFill/>
        </p:spPr>
        <p:txBody>
          <a:bodyPr wrap="square" lIns="186521" tIns="149217" rIns="186521" bIns="149217" rtlCol="0">
            <a:spAutoFit/>
          </a:bodyPr>
          <a:lstStyle/>
          <a:p>
            <a:pPr marL="0" marR="0" lvl="0" indent="0" algn="l" defTabSz="932597" rtl="0" eaLnBrk="1" fontAlgn="auto" latinLnBrk="0" hangingPunct="1">
              <a:lnSpc>
                <a:spcPct val="90000"/>
              </a:lnSpc>
              <a:spcBef>
                <a:spcPts val="0"/>
              </a:spcBef>
              <a:spcAft>
                <a:spcPts val="612"/>
              </a:spcAft>
              <a:buClrTx/>
              <a:buSzTx/>
              <a:buFontTx/>
              <a:buNone/>
              <a:tabLst/>
              <a:defRPr/>
            </a:pPr>
            <a:r>
              <a:rPr kumimoji="0" lang="en-US" sz="2652"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Language</a:t>
            </a:r>
          </a:p>
          <a:p>
            <a:pPr marL="0" marR="0" lvl="0" indent="0" algn="l" defTabSz="932597" rtl="0" eaLnBrk="1" fontAlgn="auto" latinLnBrk="0" hangingPunct="1">
              <a:lnSpc>
                <a:spcPct val="90000"/>
              </a:lnSpc>
              <a:spcBef>
                <a:spcPts val="0"/>
              </a:spcBef>
              <a:spcAft>
                <a:spcPts val="612"/>
              </a:spcAft>
              <a:buClrTx/>
              <a:buSzTx/>
              <a:buFontTx/>
              <a:buNone/>
              <a:tabLst/>
              <a:defRPr/>
            </a:pPr>
            <a:r>
              <a:rPr kumimoji="0" lang="en-US" sz="2000" b="0" i="0" u="none" strike="noStrike" kern="0" cap="none" spc="0" normalizeH="0" baseline="0" noProof="0" dirty="0">
                <a:ln>
                  <a:noFill/>
                </a:ln>
                <a:solidFill>
                  <a:srgbClr val="FFFFFF"/>
                </a:solidFill>
                <a:effectLst/>
                <a:uLnTx/>
                <a:uFillTx/>
                <a:latin typeface="Segoe UI Light"/>
                <a:ea typeface="+mn-ea"/>
                <a:cs typeface="+mn-cs"/>
              </a:rPr>
              <a:t>Process text and learn how to recognize what users want</a:t>
            </a:r>
          </a:p>
        </p:txBody>
      </p:sp>
      <p:sp>
        <p:nvSpPr>
          <p:cNvPr id="9" name="TextBox 8"/>
          <p:cNvSpPr txBox="1"/>
          <p:nvPr/>
        </p:nvSpPr>
        <p:spPr>
          <a:xfrm>
            <a:off x="6403730" y="4473236"/>
            <a:ext cx="4663017" cy="1299635"/>
          </a:xfrm>
          <a:prstGeom prst="rect">
            <a:avLst/>
          </a:prstGeom>
          <a:noFill/>
        </p:spPr>
        <p:txBody>
          <a:bodyPr wrap="square" lIns="186521" tIns="149217" rIns="186521" bIns="149217" rtlCol="0">
            <a:spAutoFit/>
          </a:bodyPr>
          <a:lstStyle/>
          <a:p>
            <a:pPr marL="0" marR="0" lvl="0" indent="0" algn="l" defTabSz="932597" rtl="0" eaLnBrk="1" fontAlgn="auto" latinLnBrk="0" hangingPunct="1">
              <a:lnSpc>
                <a:spcPct val="90000"/>
              </a:lnSpc>
              <a:spcBef>
                <a:spcPts val="0"/>
              </a:spcBef>
              <a:spcAft>
                <a:spcPts val="612"/>
              </a:spcAft>
              <a:buClrTx/>
              <a:buSzTx/>
              <a:buFontTx/>
              <a:buNone/>
              <a:tabLst/>
              <a:defRPr/>
            </a:pPr>
            <a:r>
              <a:rPr kumimoji="0" lang="en-US" sz="2652"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Knowledge</a:t>
            </a:r>
          </a:p>
          <a:p>
            <a:pPr marL="0" marR="0" lvl="0" indent="0" algn="l" defTabSz="932597" rtl="0" eaLnBrk="1" fontAlgn="auto" latinLnBrk="0" hangingPunct="1">
              <a:lnSpc>
                <a:spcPct val="90000"/>
              </a:lnSpc>
              <a:spcBef>
                <a:spcPts val="0"/>
              </a:spcBef>
              <a:spcAft>
                <a:spcPts val="612"/>
              </a:spcAft>
              <a:buClrTx/>
              <a:buSzTx/>
              <a:buFontTx/>
              <a:buNone/>
              <a:tabLst/>
              <a:defRPr/>
            </a:pPr>
            <a:r>
              <a:rPr kumimoji="0" lang="en-US" sz="2000" b="0" i="0" u="none" strike="noStrike" kern="0" cap="none" spc="0" normalizeH="0" baseline="0" noProof="0" dirty="0">
                <a:ln>
                  <a:noFill/>
                </a:ln>
                <a:solidFill>
                  <a:srgbClr val="FFFFFF"/>
                </a:solidFill>
                <a:effectLst/>
                <a:uLnTx/>
                <a:uFillTx/>
                <a:latin typeface="Segoe UI Light"/>
                <a:ea typeface="+mn-ea"/>
                <a:cs typeface="+mn-cs"/>
              </a:rPr>
              <a:t>Tap into rich knowledge amassed from </a:t>
            </a:r>
            <a:br>
              <a:rPr kumimoji="0" lang="en-US" sz="2000" b="0" i="0" u="none" strike="noStrike" kern="0" cap="none" spc="0" normalizeH="0" baseline="0" noProof="0" dirty="0">
                <a:ln>
                  <a:noFill/>
                </a:ln>
                <a:solidFill>
                  <a:srgbClr val="FFFFFF"/>
                </a:solidFill>
                <a:effectLst/>
                <a:uLnTx/>
                <a:uFillTx/>
                <a:latin typeface="Segoe UI Light"/>
                <a:ea typeface="+mn-ea"/>
                <a:cs typeface="+mn-cs"/>
              </a:rPr>
            </a:br>
            <a:r>
              <a:rPr kumimoji="0" lang="en-US" sz="2000" b="0" i="0" u="none" strike="noStrike" kern="0" cap="none" spc="0" normalizeH="0" baseline="0" noProof="0" dirty="0">
                <a:ln>
                  <a:noFill/>
                </a:ln>
                <a:solidFill>
                  <a:srgbClr val="FFFFFF"/>
                </a:solidFill>
                <a:effectLst/>
                <a:uLnTx/>
                <a:uFillTx/>
                <a:latin typeface="Segoe UI Light"/>
                <a:ea typeface="+mn-ea"/>
                <a:cs typeface="+mn-cs"/>
              </a:rPr>
              <a:t>the web, academia, or your own data</a:t>
            </a:r>
          </a:p>
        </p:txBody>
      </p:sp>
      <p:sp>
        <p:nvSpPr>
          <p:cNvPr id="10" name="TextBox 9"/>
          <p:cNvSpPr txBox="1"/>
          <p:nvPr/>
        </p:nvSpPr>
        <p:spPr>
          <a:xfrm>
            <a:off x="6403731" y="5641462"/>
            <a:ext cx="5377106" cy="1299635"/>
          </a:xfrm>
          <a:prstGeom prst="rect">
            <a:avLst/>
          </a:prstGeom>
          <a:noFill/>
        </p:spPr>
        <p:txBody>
          <a:bodyPr wrap="square" lIns="186521" tIns="149217" rIns="93260" bIns="149217" rtlCol="0">
            <a:spAutoFit/>
          </a:bodyPr>
          <a:lstStyle/>
          <a:p>
            <a:pPr marL="0" marR="0" lvl="0" indent="0" algn="l" defTabSz="932597" rtl="0" eaLnBrk="1" fontAlgn="auto" latinLnBrk="0" hangingPunct="1">
              <a:lnSpc>
                <a:spcPct val="90000"/>
              </a:lnSpc>
              <a:spcBef>
                <a:spcPts val="0"/>
              </a:spcBef>
              <a:spcAft>
                <a:spcPts val="612"/>
              </a:spcAft>
              <a:buClrTx/>
              <a:buSzTx/>
              <a:buFontTx/>
              <a:buNone/>
              <a:tabLst/>
              <a:defRPr/>
            </a:pPr>
            <a:r>
              <a:rPr kumimoji="0" lang="en-US" sz="2652"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Search</a:t>
            </a:r>
          </a:p>
          <a:p>
            <a:pPr marL="0" marR="0" lvl="0" indent="0" algn="l" defTabSz="932597" rtl="0" eaLnBrk="1" fontAlgn="auto" latinLnBrk="0" hangingPunct="1">
              <a:lnSpc>
                <a:spcPct val="90000"/>
              </a:lnSpc>
              <a:spcBef>
                <a:spcPts val="0"/>
              </a:spcBef>
              <a:spcAft>
                <a:spcPts val="612"/>
              </a:spcAft>
              <a:buClrTx/>
              <a:buSzTx/>
              <a:buFontTx/>
              <a:buNone/>
              <a:tabLst/>
              <a:defRPr/>
            </a:pPr>
            <a:r>
              <a:rPr kumimoji="0" lang="en-US" sz="2000" b="0" i="0" u="none" strike="noStrike" kern="0" cap="none" spc="0" normalizeH="0" baseline="0" noProof="0" dirty="0">
                <a:ln>
                  <a:noFill/>
                </a:ln>
                <a:solidFill>
                  <a:srgbClr val="FFFFFF"/>
                </a:solidFill>
                <a:effectLst/>
                <a:uLnTx/>
                <a:uFillTx/>
                <a:latin typeface="Segoe UI Light"/>
                <a:ea typeface="+mn-ea"/>
                <a:cs typeface="+mn-cs"/>
              </a:rPr>
              <a:t>Access billions of web pages, images, videos, and news with the power of Bing APIs</a:t>
            </a:r>
          </a:p>
        </p:txBody>
      </p:sp>
      <p:sp>
        <p:nvSpPr>
          <p:cNvPr id="40" name="Freeform 22"/>
          <p:cNvSpPr>
            <a:spLocks noChangeAspect="1"/>
          </p:cNvSpPr>
          <p:nvPr/>
        </p:nvSpPr>
        <p:spPr bwMode="auto">
          <a:xfrm>
            <a:off x="5511675" y="1359061"/>
            <a:ext cx="674510" cy="446340"/>
          </a:xfrm>
          <a:custGeom>
            <a:avLst/>
            <a:gdLst>
              <a:gd name="T0" fmla="*/ 4942 w 7181"/>
              <a:gd name="T1" fmla="*/ 414 h 4752"/>
              <a:gd name="T2" fmla="*/ 3024 w 7181"/>
              <a:gd name="T3" fmla="*/ 152 h 4752"/>
              <a:gd name="T4" fmla="*/ 0 w 7181"/>
              <a:gd name="T5" fmla="*/ 2353 h 4752"/>
              <a:gd name="T6" fmla="*/ 2201 w 7181"/>
              <a:gd name="T7" fmla="*/ 4282 h 4752"/>
              <a:gd name="T8" fmla="*/ 4848 w 7181"/>
              <a:gd name="T9" fmla="*/ 4351 h 4752"/>
              <a:gd name="T10" fmla="*/ 7102 w 7181"/>
              <a:gd name="T11" fmla="*/ 2474 h 4752"/>
              <a:gd name="T12" fmla="*/ 7181 w 7181"/>
              <a:gd name="T13" fmla="*/ 2350 h 4752"/>
              <a:gd name="T14" fmla="*/ 4942 w 7181"/>
              <a:gd name="T15" fmla="*/ 414 h 47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81" h="4752">
                <a:moveTo>
                  <a:pt x="4942" y="414"/>
                </a:moveTo>
                <a:cubicBezTo>
                  <a:pt x="4333" y="124"/>
                  <a:pt x="3691" y="0"/>
                  <a:pt x="3024" y="152"/>
                </a:cubicBezTo>
                <a:cubicBezTo>
                  <a:pt x="1710" y="456"/>
                  <a:pt x="812" y="1327"/>
                  <a:pt x="0" y="2353"/>
                </a:cubicBezTo>
                <a:cubicBezTo>
                  <a:pt x="608" y="3169"/>
                  <a:pt x="1306" y="3839"/>
                  <a:pt x="2201" y="4282"/>
                </a:cubicBezTo>
                <a:cubicBezTo>
                  <a:pt x="3069" y="4710"/>
                  <a:pt x="3957" y="4752"/>
                  <a:pt x="4848" y="4351"/>
                </a:cubicBezTo>
                <a:cubicBezTo>
                  <a:pt x="5771" y="3932"/>
                  <a:pt x="6490" y="3269"/>
                  <a:pt x="7102" y="2474"/>
                </a:cubicBezTo>
                <a:cubicBezTo>
                  <a:pt x="7129" y="2436"/>
                  <a:pt x="7154" y="2395"/>
                  <a:pt x="7181" y="2350"/>
                </a:cubicBezTo>
                <a:cubicBezTo>
                  <a:pt x="6570" y="1534"/>
                  <a:pt x="5861" y="853"/>
                  <a:pt x="4942" y="41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1" name="Freeform 18"/>
          <p:cNvSpPr>
            <a:spLocks noChangeAspect="1"/>
          </p:cNvSpPr>
          <p:nvPr/>
        </p:nvSpPr>
        <p:spPr bwMode="auto">
          <a:xfrm>
            <a:off x="5549785" y="2488410"/>
            <a:ext cx="598290" cy="524098"/>
          </a:xfrm>
          <a:custGeom>
            <a:avLst/>
            <a:gdLst>
              <a:gd name="T0" fmla="*/ 115 w 6349"/>
              <a:gd name="T1" fmla="*/ 1548 h 5575"/>
              <a:gd name="T2" fmla="*/ 1324 w 6349"/>
              <a:gd name="T3" fmla="*/ 225 h 5575"/>
              <a:gd name="T4" fmla="*/ 5039 w 6349"/>
              <a:gd name="T5" fmla="*/ 228 h 5575"/>
              <a:gd name="T6" fmla="*/ 6221 w 6349"/>
              <a:gd name="T7" fmla="*/ 1445 h 5575"/>
              <a:gd name="T8" fmla="*/ 6235 w 6349"/>
              <a:gd name="T9" fmla="*/ 3263 h 5575"/>
              <a:gd name="T10" fmla="*/ 4974 w 6349"/>
              <a:gd name="T11" fmla="*/ 4531 h 5575"/>
              <a:gd name="T12" fmla="*/ 3498 w 6349"/>
              <a:gd name="T13" fmla="*/ 4683 h 5575"/>
              <a:gd name="T14" fmla="*/ 3298 w 6349"/>
              <a:gd name="T15" fmla="*/ 4745 h 5575"/>
              <a:gd name="T16" fmla="*/ 2475 w 6349"/>
              <a:gd name="T17" fmla="*/ 5284 h 5575"/>
              <a:gd name="T18" fmla="*/ 1414 w 6349"/>
              <a:gd name="T19" fmla="*/ 5561 h 5575"/>
              <a:gd name="T20" fmla="*/ 1936 w 6349"/>
              <a:gd name="T21" fmla="*/ 4628 h 5575"/>
              <a:gd name="T22" fmla="*/ 1490 w 6349"/>
              <a:gd name="T23" fmla="*/ 4559 h 5575"/>
              <a:gd name="T24" fmla="*/ 118 w 6349"/>
              <a:gd name="T25" fmla="*/ 3270 h 5575"/>
              <a:gd name="T26" fmla="*/ 115 w 6349"/>
              <a:gd name="T27" fmla="*/ 1548 h 5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9" h="5575">
                <a:moveTo>
                  <a:pt x="115" y="1548"/>
                </a:moveTo>
                <a:cubicBezTo>
                  <a:pt x="211" y="957"/>
                  <a:pt x="595" y="353"/>
                  <a:pt x="1324" y="225"/>
                </a:cubicBezTo>
                <a:cubicBezTo>
                  <a:pt x="2565" y="10"/>
                  <a:pt x="3802" y="0"/>
                  <a:pt x="5039" y="228"/>
                </a:cubicBezTo>
                <a:cubicBezTo>
                  <a:pt x="5713" y="353"/>
                  <a:pt x="6086" y="792"/>
                  <a:pt x="6221" y="1445"/>
                </a:cubicBezTo>
                <a:cubicBezTo>
                  <a:pt x="6349" y="2050"/>
                  <a:pt x="6339" y="2658"/>
                  <a:pt x="6235" y="3263"/>
                </a:cubicBezTo>
                <a:cubicBezTo>
                  <a:pt x="6135" y="3847"/>
                  <a:pt x="5724" y="4438"/>
                  <a:pt x="4974" y="4531"/>
                </a:cubicBezTo>
                <a:cubicBezTo>
                  <a:pt x="4483" y="4590"/>
                  <a:pt x="3989" y="4631"/>
                  <a:pt x="3498" y="4683"/>
                </a:cubicBezTo>
                <a:cubicBezTo>
                  <a:pt x="3429" y="4690"/>
                  <a:pt x="3356" y="4707"/>
                  <a:pt x="3298" y="4745"/>
                </a:cubicBezTo>
                <a:cubicBezTo>
                  <a:pt x="3021" y="4921"/>
                  <a:pt x="2869" y="5125"/>
                  <a:pt x="2475" y="5284"/>
                </a:cubicBezTo>
                <a:cubicBezTo>
                  <a:pt x="2154" y="5423"/>
                  <a:pt x="1466" y="5575"/>
                  <a:pt x="1414" y="5561"/>
                </a:cubicBezTo>
                <a:cubicBezTo>
                  <a:pt x="1390" y="5523"/>
                  <a:pt x="1894" y="4963"/>
                  <a:pt x="1936" y="4628"/>
                </a:cubicBezTo>
                <a:cubicBezTo>
                  <a:pt x="1760" y="4600"/>
                  <a:pt x="1625" y="4579"/>
                  <a:pt x="1490" y="4559"/>
                </a:cubicBezTo>
                <a:cubicBezTo>
                  <a:pt x="719" y="4441"/>
                  <a:pt x="277" y="4013"/>
                  <a:pt x="118" y="3270"/>
                </a:cubicBezTo>
                <a:cubicBezTo>
                  <a:pt x="0" y="2665"/>
                  <a:pt x="35" y="2056"/>
                  <a:pt x="115" y="154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2" name="Freeform 9"/>
          <p:cNvSpPr>
            <a:spLocks noChangeAspect="1"/>
          </p:cNvSpPr>
          <p:nvPr/>
        </p:nvSpPr>
        <p:spPr bwMode="auto">
          <a:xfrm>
            <a:off x="5634608" y="3649183"/>
            <a:ext cx="428643" cy="539009"/>
          </a:xfrm>
          <a:custGeom>
            <a:avLst/>
            <a:gdLst>
              <a:gd name="T0" fmla="*/ 5153 w 5153"/>
              <a:gd name="T1" fmla="*/ 2353 h 6483"/>
              <a:gd name="T2" fmla="*/ 2799 w 5153"/>
              <a:gd name="T3" fmla="*/ 0 h 6483"/>
              <a:gd name="T4" fmla="*/ 445 w 5153"/>
              <a:gd name="T5" fmla="*/ 2353 h 6483"/>
              <a:gd name="T6" fmla="*/ 1852 w 5153"/>
              <a:gd name="T7" fmla="*/ 4507 h 6483"/>
              <a:gd name="T8" fmla="*/ 1399 w 5153"/>
              <a:gd name="T9" fmla="*/ 4932 h 6483"/>
              <a:gd name="T10" fmla="*/ 214 w 5153"/>
              <a:gd name="T11" fmla="*/ 5457 h 6483"/>
              <a:gd name="T12" fmla="*/ 41 w 5153"/>
              <a:gd name="T13" fmla="*/ 5578 h 6483"/>
              <a:gd name="T14" fmla="*/ 0 w 5153"/>
              <a:gd name="T15" fmla="*/ 6245 h 6483"/>
              <a:gd name="T16" fmla="*/ 96 w 5153"/>
              <a:gd name="T17" fmla="*/ 6276 h 6483"/>
              <a:gd name="T18" fmla="*/ 3145 w 5153"/>
              <a:gd name="T19" fmla="*/ 5637 h 6483"/>
              <a:gd name="T20" fmla="*/ 5153 w 5153"/>
              <a:gd name="T21" fmla="*/ 2353 h 6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153" h="6483">
                <a:moveTo>
                  <a:pt x="5153" y="2353"/>
                </a:moveTo>
                <a:cubicBezTo>
                  <a:pt x="5153" y="1054"/>
                  <a:pt x="4098" y="0"/>
                  <a:pt x="2799" y="0"/>
                </a:cubicBezTo>
                <a:cubicBezTo>
                  <a:pt x="1500" y="0"/>
                  <a:pt x="445" y="1054"/>
                  <a:pt x="445" y="2353"/>
                </a:cubicBezTo>
                <a:cubicBezTo>
                  <a:pt x="445" y="3314"/>
                  <a:pt x="1023" y="4144"/>
                  <a:pt x="1852" y="4507"/>
                </a:cubicBezTo>
                <a:cubicBezTo>
                  <a:pt x="1776" y="4634"/>
                  <a:pt x="1586" y="4814"/>
                  <a:pt x="1399" y="4932"/>
                </a:cubicBezTo>
                <a:cubicBezTo>
                  <a:pt x="1036" y="5167"/>
                  <a:pt x="611" y="5284"/>
                  <a:pt x="214" y="5457"/>
                </a:cubicBezTo>
                <a:cubicBezTo>
                  <a:pt x="148" y="5485"/>
                  <a:pt x="45" y="5530"/>
                  <a:pt x="41" y="5578"/>
                </a:cubicBezTo>
                <a:cubicBezTo>
                  <a:pt x="13" y="5799"/>
                  <a:pt x="10" y="6027"/>
                  <a:pt x="0" y="6245"/>
                </a:cubicBezTo>
                <a:cubicBezTo>
                  <a:pt x="48" y="6262"/>
                  <a:pt x="72" y="6273"/>
                  <a:pt x="96" y="6276"/>
                </a:cubicBezTo>
                <a:cubicBezTo>
                  <a:pt x="1213" y="6483"/>
                  <a:pt x="2229" y="6221"/>
                  <a:pt x="3145" y="5637"/>
                </a:cubicBezTo>
                <a:cubicBezTo>
                  <a:pt x="4095" y="5032"/>
                  <a:pt x="5153" y="4043"/>
                  <a:pt x="5153" y="23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3" name="Freeform 5"/>
          <p:cNvSpPr>
            <a:spLocks/>
          </p:cNvSpPr>
          <p:nvPr/>
        </p:nvSpPr>
        <p:spPr bwMode="auto">
          <a:xfrm>
            <a:off x="5580475" y="4818461"/>
            <a:ext cx="536910" cy="536910"/>
          </a:xfrm>
          <a:custGeom>
            <a:avLst/>
            <a:gdLst>
              <a:gd name="T0" fmla="*/ 5986 w 5986"/>
              <a:gd name="T1" fmla="*/ 3594 h 5985"/>
              <a:gd name="T2" fmla="*/ 5986 w 5986"/>
              <a:gd name="T3" fmla="*/ 2395 h 5985"/>
              <a:gd name="T4" fmla="*/ 5402 w 5986"/>
              <a:gd name="T5" fmla="*/ 2395 h 5985"/>
              <a:gd name="T6" fmla="*/ 5122 w 5986"/>
              <a:gd name="T7" fmla="*/ 1717 h 5985"/>
              <a:gd name="T8" fmla="*/ 5533 w 5986"/>
              <a:gd name="T9" fmla="*/ 1330 h 5985"/>
              <a:gd name="T10" fmla="*/ 4666 w 5986"/>
              <a:gd name="T11" fmla="*/ 463 h 5985"/>
              <a:gd name="T12" fmla="*/ 4282 w 5986"/>
              <a:gd name="T13" fmla="*/ 870 h 5985"/>
              <a:gd name="T14" fmla="*/ 3591 w 5986"/>
              <a:gd name="T15" fmla="*/ 584 h 5985"/>
              <a:gd name="T16" fmla="*/ 3591 w 5986"/>
              <a:gd name="T17" fmla="*/ 0 h 5985"/>
              <a:gd name="T18" fmla="*/ 2392 w 5986"/>
              <a:gd name="T19" fmla="*/ 0 h 5985"/>
              <a:gd name="T20" fmla="*/ 2392 w 5986"/>
              <a:gd name="T21" fmla="*/ 587 h 5985"/>
              <a:gd name="T22" fmla="*/ 1711 w 5986"/>
              <a:gd name="T23" fmla="*/ 870 h 5985"/>
              <a:gd name="T24" fmla="*/ 1327 w 5986"/>
              <a:gd name="T25" fmla="*/ 456 h 5985"/>
              <a:gd name="T26" fmla="*/ 453 w 5986"/>
              <a:gd name="T27" fmla="*/ 1323 h 5985"/>
              <a:gd name="T28" fmla="*/ 868 w 5986"/>
              <a:gd name="T29" fmla="*/ 1710 h 5985"/>
              <a:gd name="T30" fmla="*/ 584 w 5986"/>
              <a:gd name="T31" fmla="*/ 2395 h 5985"/>
              <a:gd name="T32" fmla="*/ 0 w 5986"/>
              <a:gd name="T33" fmla="*/ 2395 h 5985"/>
              <a:gd name="T34" fmla="*/ 0 w 5986"/>
              <a:gd name="T35" fmla="*/ 3587 h 5985"/>
              <a:gd name="T36" fmla="*/ 584 w 5986"/>
              <a:gd name="T37" fmla="*/ 3587 h 5985"/>
              <a:gd name="T38" fmla="*/ 871 w 5986"/>
              <a:gd name="T39" fmla="*/ 4275 h 5985"/>
              <a:gd name="T40" fmla="*/ 442 w 5986"/>
              <a:gd name="T41" fmla="*/ 4651 h 5985"/>
              <a:gd name="T42" fmla="*/ 1320 w 5986"/>
              <a:gd name="T43" fmla="*/ 5529 h 5985"/>
              <a:gd name="T44" fmla="*/ 1711 w 5986"/>
              <a:gd name="T45" fmla="*/ 5114 h 5985"/>
              <a:gd name="T46" fmla="*/ 2392 w 5986"/>
              <a:gd name="T47" fmla="*/ 5398 h 5985"/>
              <a:gd name="T48" fmla="*/ 2392 w 5986"/>
              <a:gd name="T49" fmla="*/ 5985 h 5985"/>
              <a:gd name="T50" fmla="*/ 3584 w 5986"/>
              <a:gd name="T51" fmla="*/ 5985 h 5985"/>
              <a:gd name="T52" fmla="*/ 3584 w 5986"/>
              <a:gd name="T53" fmla="*/ 5401 h 5985"/>
              <a:gd name="T54" fmla="*/ 4279 w 5986"/>
              <a:gd name="T55" fmla="*/ 5114 h 5985"/>
              <a:gd name="T56" fmla="*/ 4662 w 5986"/>
              <a:gd name="T57" fmla="*/ 5533 h 5985"/>
              <a:gd name="T58" fmla="*/ 5523 w 5986"/>
              <a:gd name="T59" fmla="*/ 4669 h 5985"/>
              <a:gd name="T60" fmla="*/ 5112 w 5986"/>
              <a:gd name="T61" fmla="*/ 4285 h 5985"/>
              <a:gd name="T62" fmla="*/ 5402 w 5986"/>
              <a:gd name="T63" fmla="*/ 3594 h 5985"/>
              <a:gd name="T64" fmla="*/ 5986 w 5986"/>
              <a:gd name="T65" fmla="*/ 3594 h 5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986" h="5985">
                <a:moveTo>
                  <a:pt x="5986" y="3594"/>
                </a:moveTo>
                <a:cubicBezTo>
                  <a:pt x="5986" y="3193"/>
                  <a:pt x="5986" y="2795"/>
                  <a:pt x="5986" y="2395"/>
                </a:cubicBezTo>
                <a:cubicBezTo>
                  <a:pt x="5789" y="2395"/>
                  <a:pt x="5595" y="2395"/>
                  <a:pt x="5402" y="2395"/>
                </a:cubicBezTo>
                <a:cubicBezTo>
                  <a:pt x="5343" y="2153"/>
                  <a:pt x="5246" y="1925"/>
                  <a:pt x="5122" y="1717"/>
                </a:cubicBezTo>
                <a:cubicBezTo>
                  <a:pt x="5257" y="1589"/>
                  <a:pt x="5395" y="1458"/>
                  <a:pt x="5533" y="1330"/>
                </a:cubicBezTo>
                <a:cubicBezTo>
                  <a:pt x="5232" y="1029"/>
                  <a:pt x="4956" y="753"/>
                  <a:pt x="4666" y="463"/>
                </a:cubicBezTo>
                <a:cubicBezTo>
                  <a:pt x="4541" y="597"/>
                  <a:pt x="4410" y="736"/>
                  <a:pt x="4282" y="870"/>
                </a:cubicBezTo>
                <a:cubicBezTo>
                  <a:pt x="4071" y="743"/>
                  <a:pt x="3836" y="642"/>
                  <a:pt x="3591" y="584"/>
                </a:cubicBezTo>
                <a:cubicBezTo>
                  <a:pt x="3591" y="397"/>
                  <a:pt x="3591" y="197"/>
                  <a:pt x="3591" y="0"/>
                </a:cubicBezTo>
                <a:cubicBezTo>
                  <a:pt x="3190" y="0"/>
                  <a:pt x="2793" y="0"/>
                  <a:pt x="2392" y="0"/>
                </a:cubicBezTo>
                <a:cubicBezTo>
                  <a:pt x="2392" y="197"/>
                  <a:pt x="2392" y="390"/>
                  <a:pt x="2392" y="587"/>
                </a:cubicBezTo>
                <a:cubicBezTo>
                  <a:pt x="2150" y="649"/>
                  <a:pt x="1918" y="746"/>
                  <a:pt x="1711" y="870"/>
                </a:cubicBezTo>
                <a:cubicBezTo>
                  <a:pt x="1586" y="736"/>
                  <a:pt x="1452" y="594"/>
                  <a:pt x="1327" y="456"/>
                </a:cubicBezTo>
                <a:cubicBezTo>
                  <a:pt x="1023" y="753"/>
                  <a:pt x="747" y="1029"/>
                  <a:pt x="453" y="1323"/>
                </a:cubicBezTo>
                <a:cubicBezTo>
                  <a:pt x="588" y="1451"/>
                  <a:pt x="729" y="1582"/>
                  <a:pt x="868" y="1710"/>
                </a:cubicBezTo>
                <a:cubicBezTo>
                  <a:pt x="740" y="1921"/>
                  <a:pt x="646" y="2149"/>
                  <a:pt x="584" y="2395"/>
                </a:cubicBezTo>
                <a:cubicBezTo>
                  <a:pt x="398" y="2395"/>
                  <a:pt x="201" y="2395"/>
                  <a:pt x="0" y="2395"/>
                </a:cubicBezTo>
                <a:cubicBezTo>
                  <a:pt x="0" y="2795"/>
                  <a:pt x="0" y="3183"/>
                  <a:pt x="0" y="3587"/>
                </a:cubicBezTo>
                <a:cubicBezTo>
                  <a:pt x="197" y="3587"/>
                  <a:pt x="391" y="3587"/>
                  <a:pt x="584" y="3587"/>
                </a:cubicBezTo>
                <a:cubicBezTo>
                  <a:pt x="646" y="3832"/>
                  <a:pt x="743" y="4064"/>
                  <a:pt x="871" y="4275"/>
                </a:cubicBezTo>
                <a:cubicBezTo>
                  <a:pt x="733" y="4396"/>
                  <a:pt x="584" y="4527"/>
                  <a:pt x="442" y="4651"/>
                </a:cubicBezTo>
                <a:cubicBezTo>
                  <a:pt x="750" y="4959"/>
                  <a:pt x="1027" y="5235"/>
                  <a:pt x="1320" y="5529"/>
                </a:cubicBezTo>
                <a:cubicBezTo>
                  <a:pt x="1448" y="5391"/>
                  <a:pt x="1583" y="5249"/>
                  <a:pt x="1711" y="5114"/>
                </a:cubicBezTo>
                <a:cubicBezTo>
                  <a:pt x="1918" y="5242"/>
                  <a:pt x="2150" y="5336"/>
                  <a:pt x="2392" y="5398"/>
                </a:cubicBezTo>
                <a:cubicBezTo>
                  <a:pt x="2392" y="5584"/>
                  <a:pt x="2392" y="5781"/>
                  <a:pt x="2392" y="5985"/>
                </a:cubicBezTo>
                <a:cubicBezTo>
                  <a:pt x="2793" y="5985"/>
                  <a:pt x="3180" y="5985"/>
                  <a:pt x="3584" y="5985"/>
                </a:cubicBezTo>
                <a:cubicBezTo>
                  <a:pt x="3584" y="5788"/>
                  <a:pt x="3584" y="5591"/>
                  <a:pt x="3584" y="5401"/>
                </a:cubicBezTo>
                <a:cubicBezTo>
                  <a:pt x="3833" y="5343"/>
                  <a:pt x="4064" y="5242"/>
                  <a:pt x="4279" y="5114"/>
                </a:cubicBezTo>
                <a:cubicBezTo>
                  <a:pt x="4403" y="5253"/>
                  <a:pt x="4534" y="5394"/>
                  <a:pt x="4662" y="5533"/>
                </a:cubicBezTo>
                <a:cubicBezTo>
                  <a:pt x="4956" y="5239"/>
                  <a:pt x="5232" y="4959"/>
                  <a:pt x="5523" y="4669"/>
                </a:cubicBezTo>
                <a:cubicBezTo>
                  <a:pt x="5388" y="4541"/>
                  <a:pt x="5246" y="4409"/>
                  <a:pt x="5112" y="4285"/>
                </a:cubicBezTo>
                <a:cubicBezTo>
                  <a:pt x="5239" y="4074"/>
                  <a:pt x="5340" y="3843"/>
                  <a:pt x="5402" y="3594"/>
                </a:cubicBezTo>
                <a:cubicBezTo>
                  <a:pt x="5588" y="3594"/>
                  <a:pt x="5785" y="3594"/>
                  <a:pt x="5986" y="35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grpSp>
        <p:nvGrpSpPr>
          <p:cNvPr id="46" name="Group 45"/>
          <p:cNvGrpSpPr/>
          <p:nvPr/>
        </p:nvGrpSpPr>
        <p:grpSpPr>
          <a:xfrm>
            <a:off x="5574791" y="5985638"/>
            <a:ext cx="548278" cy="539009"/>
            <a:chOff x="10832823" y="3353836"/>
            <a:chExt cx="537576" cy="528488"/>
          </a:xfrm>
        </p:grpSpPr>
        <p:sp>
          <p:nvSpPr>
            <p:cNvPr id="44" name="Oval 13"/>
            <p:cNvSpPr>
              <a:spLocks noChangeArrowheads="1"/>
            </p:cNvSpPr>
            <p:nvPr/>
          </p:nvSpPr>
          <p:spPr bwMode="auto">
            <a:xfrm>
              <a:off x="10943701" y="3353836"/>
              <a:ext cx="426698" cy="42669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5" name="Freeform 14"/>
            <p:cNvSpPr>
              <a:spLocks/>
            </p:cNvSpPr>
            <p:nvPr/>
          </p:nvSpPr>
          <p:spPr bwMode="auto">
            <a:xfrm>
              <a:off x="10832823" y="3702829"/>
              <a:ext cx="179495" cy="179495"/>
            </a:xfrm>
            <a:custGeom>
              <a:avLst/>
              <a:gdLst>
                <a:gd name="T0" fmla="*/ 1224 w 1980"/>
                <a:gd name="T1" fmla="*/ 0 h 1977"/>
                <a:gd name="T2" fmla="*/ 218 w 1980"/>
                <a:gd name="T3" fmla="*/ 985 h 1977"/>
                <a:gd name="T4" fmla="*/ 211 w 1980"/>
                <a:gd name="T5" fmla="*/ 1752 h 1977"/>
                <a:gd name="T6" fmla="*/ 218 w 1980"/>
                <a:gd name="T7" fmla="*/ 1759 h 1977"/>
                <a:gd name="T8" fmla="*/ 985 w 1980"/>
                <a:gd name="T9" fmla="*/ 1766 h 1977"/>
                <a:gd name="T10" fmla="*/ 1980 w 1980"/>
                <a:gd name="T11" fmla="*/ 788 h 1977"/>
                <a:gd name="T12" fmla="*/ 1224 w 1980"/>
                <a:gd name="T13" fmla="*/ 0 h 1977"/>
              </a:gdLst>
              <a:ahLst/>
              <a:cxnLst>
                <a:cxn ang="0">
                  <a:pos x="T0" y="T1"/>
                </a:cxn>
                <a:cxn ang="0">
                  <a:pos x="T2" y="T3"/>
                </a:cxn>
                <a:cxn ang="0">
                  <a:pos x="T4" y="T5"/>
                </a:cxn>
                <a:cxn ang="0">
                  <a:pos x="T6" y="T7"/>
                </a:cxn>
                <a:cxn ang="0">
                  <a:pos x="T8" y="T9"/>
                </a:cxn>
                <a:cxn ang="0">
                  <a:pos x="T10" y="T11"/>
                </a:cxn>
                <a:cxn ang="0">
                  <a:pos x="T12" y="T13"/>
                </a:cxn>
              </a:cxnLst>
              <a:rect l="0" t="0" r="r" b="b"/>
              <a:pathLst>
                <a:path w="1980" h="1977">
                  <a:moveTo>
                    <a:pt x="1224" y="0"/>
                  </a:moveTo>
                  <a:cubicBezTo>
                    <a:pt x="218" y="985"/>
                    <a:pt x="218" y="985"/>
                    <a:pt x="218" y="985"/>
                  </a:cubicBezTo>
                  <a:cubicBezTo>
                    <a:pt x="4" y="1196"/>
                    <a:pt x="0" y="1538"/>
                    <a:pt x="211" y="1752"/>
                  </a:cubicBezTo>
                  <a:cubicBezTo>
                    <a:pt x="218" y="1759"/>
                    <a:pt x="218" y="1759"/>
                    <a:pt x="218" y="1759"/>
                  </a:cubicBezTo>
                  <a:cubicBezTo>
                    <a:pt x="429" y="1974"/>
                    <a:pt x="771" y="1977"/>
                    <a:pt x="985" y="1766"/>
                  </a:cubicBezTo>
                  <a:cubicBezTo>
                    <a:pt x="1980" y="788"/>
                    <a:pt x="1980" y="788"/>
                    <a:pt x="1980" y="788"/>
                  </a:cubicBezTo>
                  <a:cubicBezTo>
                    <a:pt x="1683" y="581"/>
                    <a:pt x="1424" y="315"/>
                    <a:pt x="122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grpSp>
    </p:spTree>
    <p:custDataLst>
      <p:tags r:id="rId1"/>
    </p:custDataLst>
    <p:extLst>
      <p:ext uri="{BB962C8B-B14F-4D97-AF65-F5344CB8AC3E}">
        <p14:creationId xmlns:p14="http://schemas.microsoft.com/office/powerpoint/2010/main" val="156594833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4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8"/>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4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9"/>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6"/>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8" grpId="0"/>
      <p:bldP spid="9" grpId="0"/>
      <p:bldP spid="10" grpId="0"/>
      <p:bldP spid="40" grpId="0" animBg="1"/>
      <p:bldP spid="41" grpId="0" animBg="1"/>
      <p:bldP spid="42" grpId="0" animBg="1"/>
      <p:bldP spid="43"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a:spLocks/>
          </p:cNvSpPr>
          <p:nvPr/>
        </p:nvSpPr>
        <p:spPr bwMode="auto">
          <a:xfrm>
            <a:off x="8055099" y="1261594"/>
            <a:ext cx="3987958" cy="7965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224" tIns="44611" rIns="89224" bIns="44611" numCol="1" spcCol="0" rtlCol="0" fromWordArt="0" anchor="ctr" anchorCtr="0" forceAA="0" compatLnSpc="1">
            <a:prstTxWarp prst="textNoShape">
              <a:avLst/>
            </a:prstTxWarp>
            <a:noAutofit/>
          </a:bodyPr>
          <a:lstStyle/>
          <a:p>
            <a:pPr marL="0" marR="0" lvl="0" indent="0" algn="r" defTabSz="909375" rtl="0" eaLnBrk="1" fontAlgn="auto" latinLnBrk="0" hangingPunct="1">
              <a:lnSpc>
                <a:spcPct val="100000"/>
              </a:lnSpc>
              <a:spcBef>
                <a:spcPts val="0"/>
              </a:spcBef>
              <a:spcAft>
                <a:spcPts val="0"/>
              </a:spcAft>
              <a:buClrTx/>
              <a:buSzTx/>
              <a:buFontTx/>
              <a:buNone/>
              <a:tabLst/>
              <a:defRPr/>
            </a:pPr>
            <a:endParaRPr kumimoji="0" lang="en-US" sz="1765" b="1" i="0" u="none" strike="noStrike" kern="0" cap="none" spc="0" normalizeH="0" baseline="0" noProof="0">
              <a:ln>
                <a:noFill/>
              </a:ln>
              <a:solidFill>
                <a:srgbClr val="FFB900"/>
              </a:solidFill>
              <a:effectLst/>
              <a:uLnTx/>
              <a:uFillTx/>
              <a:latin typeface="Segoe UI"/>
              <a:ea typeface="+mn-ea"/>
              <a:cs typeface="+mn-cs"/>
            </a:endParaRPr>
          </a:p>
        </p:txBody>
      </p:sp>
      <p:sp>
        <p:nvSpPr>
          <p:cNvPr id="16" name="Rectangle 15"/>
          <p:cNvSpPr>
            <a:spLocks/>
          </p:cNvSpPr>
          <p:nvPr/>
        </p:nvSpPr>
        <p:spPr bwMode="auto">
          <a:xfrm>
            <a:off x="8055099" y="1261594"/>
            <a:ext cx="3987958" cy="7965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224" tIns="44611" rIns="89224" bIns="44611" numCol="1" spcCol="0" rtlCol="0" fromWordArt="0" anchor="ctr" anchorCtr="0" forceAA="0" compatLnSpc="1">
            <a:prstTxWarp prst="textNoShape">
              <a:avLst/>
            </a:prstTxWarp>
            <a:noAutofit/>
          </a:bodyPr>
          <a:lstStyle/>
          <a:p>
            <a:pPr marL="0" marR="0" lvl="0" indent="0" algn="r" defTabSz="909375" rtl="0" eaLnBrk="1" fontAlgn="auto" latinLnBrk="0" hangingPunct="1">
              <a:lnSpc>
                <a:spcPct val="100000"/>
              </a:lnSpc>
              <a:spcBef>
                <a:spcPts val="0"/>
              </a:spcBef>
              <a:spcAft>
                <a:spcPts val="0"/>
              </a:spcAft>
              <a:buClrTx/>
              <a:buSzTx/>
              <a:buFontTx/>
              <a:buNone/>
              <a:tabLst/>
              <a:defRPr/>
            </a:pPr>
            <a:endParaRPr kumimoji="0" lang="en-US" sz="1765" b="1" i="0" u="none" strike="noStrike" kern="0" cap="none" spc="0" normalizeH="0" baseline="0" noProof="0">
              <a:ln>
                <a:noFill/>
              </a:ln>
              <a:solidFill>
                <a:srgbClr val="FFB900"/>
              </a:solidFill>
              <a:effectLst/>
              <a:uLnTx/>
              <a:uFillTx/>
              <a:latin typeface="Segoe UI"/>
              <a:ea typeface="+mn-ea"/>
              <a:cs typeface="+mn-cs"/>
            </a:endParaRPr>
          </a:p>
        </p:txBody>
      </p:sp>
      <p:grpSp>
        <p:nvGrpSpPr>
          <p:cNvPr id="12" name="Group 11"/>
          <p:cNvGrpSpPr/>
          <p:nvPr/>
        </p:nvGrpSpPr>
        <p:grpSpPr>
          <a:xfrm>
            <a:off x="2736302" y="3657933"/>
            <a:ext cx="2239961" cy="639988"/>
            <a:chOff x="9701909" y="5021262"/>
            <a:chExt cx="2459932" cy="533400"/>
          </a:xfrm>
          <a:solidFill>
            <a:schemeClr val="tx1"/>
          </a:solidFill>
        </p:grpSpPr>
        <p:sp>
          <p:nvSpPr>
            <p:cNvPr id="17" name="Flowchart: Process 8"/>
            <p:cNvSpPr/>
            <p:nvPr/>
          </p:nvSpPr>
          <p:spPr bwMode="auto">
            <a:xfrm>
              <a:off x="9701909" y="5021262"/>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16" tIns="89616" rIns="33610" bIns="33610" rtlCol="0" anchor="b" anchorCtr="0"/>
            <a:lstStyle/>
            <a:p>
              <a:pPr marL="0" marR="0" lvl="0" indent="0" algn="ctr" defTabSz="91368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14" name="Rectangle 13"/>
            <p:cNvSpPr/>
            <p:nvPr/>
          </p:nvSpPr>
          <p:spPr>
            <a:xfrm>
              <a:off x="9888747" y="5125889"/>
              <a:ext cx="2273093" cy="324146"/>
            </a:xfrm>
            <a:prstGeom prst="rect">
              <a:avLst/>
            </a:prstGeom>
            <a:grpFill/>
            <a:ln w="9525" cap="flat" cmpd="sng" algn="ctr">
              <a:noFill/>
              <a:prstDash val="solid"/>
            </a:ln>
            <a:effectLst/>
          </p:spPr>
          <p:txBody>
            <a:bodyPr lIns="119299" tIns="59648" rIns="119299" bIns="59648" rtlCol="0" anchor="ctr"/>
            <a:lstStyle/>
            <a:p>
              <a:pPr marL="0" marR="0" lvl="0" indent="0" algn="l" defTabSz="896042"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gradFill>
                    <a:gsLst>
                      <a:gs pos="0">
                        <a:srgbClr val="404040"/>
                      </a:gs>
                      <a:gs pos="100000">
                        <a:srgbClr val="404040"/>
                      </a:gs>
                    </a:gsLst>
                    <a:lin ang="5400000" scaled="0"/>
                  </a:gradFill>
                  <a:effectLst/>
                  <a:uLnTx/>
                  <a:uFillTx/>
                  <a:latin typeface="Segoe UI Light"/>
                  <a:ea typeface="+mn-ea"/>
                  <a:cs typeface="+mn-cs"/>
                </a:rPr>
                <a:t>Speaker Recognition</a:t>
              </a:r>
            </a:p>
          </p:txBody>
        </p:sp>
      </p:grpSp>
      <p:grpSp>
        <p:nvGrpSpPr>
          <p:cNvPr id="19" name="Group 18"/>
          <p:cNvGrpSpPr/>
          <p:nvPr/>
        </p:nvGrpSpPr>
        <p:grpSpPr>
          <a:xfrm>
            <a:off x="2736301" y="4385599"/>
            <a:ext cx="2239961" cy="639988"/>
            <a:chOff x="9701909" y="5630862"/>
            <a:chExt cx="2459932" cy="533400"/>
          </a:xfrm>
          <a:solidFill>
            <a:schemeClr val="tx1"/>
          </a:solidFill>
        </p:grpSpPr>
        <p:sp>
          <p:nvSpPr>
            <p:cNvPr id="22" name="Flowchart: Process 8"/>
            <p:cNvSpPr/>
            <p:nvPr/>
          </p:nvSpPr>
          <p:spPr bwMode="auto">
            <a:xfrm>
              <a:off x="9701909" y="5630862"/>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16" tIns="89616" rIns="33610" bIns="33610" rtlCol="0" anchor="b" anchorCtr="0"/>
            <a:lstStyle/>
            <a:p>
              <a:pPr marL="0" marR="0" lvl="0" indent="0" algn="ctr" defTabSz="91368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21" name="Rectangle 20"/>
            <p:cNvSpPr/>
            <p:nvPr/>
          </p:nvSpPr>
          <p:spPr>
            <a:xfrm>
              <a:off x="9838466" y="5631889"/>
              <a:ext cx="2162814" cy="530950"/>
            </a:xfrm>
            <a:prstGeom prst="rect">
              <a:avLst/>
            </a:prstGeom>
            <a:grpFill/>
            <a:ln w="9525" cap="flat" cmpd="sng" algn="ctr">
              <a:noFill/>
              <a:prstDash val="solid"/>
            </a:ln>
            <a:effectLst/>
          </p:spPr>
          <p:txBody>
            <a:bodyPr lIns="119299" tIns="59648" rIns="119299" bIns="59648" rtlCol="0" anchor="ctr"/>
            <a:lstStyle/>
            <a:p>
              <a:pPr marL="0" marR="0" lvl="0" indent="0" algn="l" defTabSz="896042"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gradFill>
                    <a:gsLst>
                      <a:gs pos="0">
                        <a:srgbClr val="404040"/>
                      </a:gs>
                      <a:gs pos="100000">
                        <a:srgbClr val="404040"/>
                      </a:gs>
                    </a:gsLst>
                    <a:lin ang="5400000" scaled="0"/>
                  </a:gradFill>
                  <a:effectLst/>
                  <a:uLnTx/>
                  <a:uFillTx/>
                  <a:latin typeface="Segoe UI Light"/>
                  <a:ea typeface="+mn-ea"/>
                  <a:cs typeface="+mn-cs"/>
                </a:rPr>
                <a:t>Bing Speech</a:t>
              </a:r>
            </a:p>
          </p:txBody>
        </p:sp>
      </p:grpSp>
      <p:grpSp>
        <p:nvGrpSpPr>
          <p:cNvPr id="24" name="Group 23"/>
          <p:cNvGrpSpPr/>
          <p:nvPr/>
        </p:nvGrpSpPr>
        <p:grpSpPr>
          <a:xfrm>
            <a:off x="2731501" y="2930267"/>
            <a:ext cx="2243172" cy="639985"/>
            <a:chOff x="9701907" y="3192460"/>
            <a:chExt cx="2459932" cy="533400"/>
          </a:xfrm>
          <a:solidFill>
            <a:schemeClr val="tx1"/>
          </a:solidFill>
        </p:grpSpPr>
        <p:sp>
          <p:nvSpPr>
            <p:cNvPr id="27" name="Flowchart: Process 8"/>
            <p:cNvSpPr/>
            <p:nvPr/>
          </p:nvSpPr>
          <p:spPr bwMode="auto">
            <a:xfrm>
              <a:off x="9701907" y="3192460"/>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16" tIns="89616" rIns="33610" bIns="33610" rtlCol="0" anchor="b" anchorCtr="0"/>
            <a:lstStyle/>
            <a:p>
              <a:pPr marL="0" marR="0" lvl="0" indent="0" algn="ctr" defTabSz="91368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26" name="Rectangle 25"/>
            <p:cNvSpPr/>
            <p:nvPr/>
          </p:nvSpPr>
          <p:spPr>
            <a:xfrm>
              <a:off x="9836450" y="3268662"/>
              <a:ext cx="2321868" cy="388654"/>
            </a:xfrm>
            <a:prstGeom prst="rect">
              <a:avLst/>
            </a:prstGeom>
            <a:grpFill/>
            <a:ln w="9525" cap="flat" cmpd="sng" algn="ctr">
              <a:noFill/>
              <a:prstDash val="solid"/>
            </a:ln>
            <a:effectLst/>
          </p:spPr>
          <p:txBody>
            <a:bodyPr lIns="119299" tIns="59648" rIns="119299" bIns="59648" rtlCol="0" anchor="ctr"/>
            <a:lstStyle/>
            <a:p>
              <a:pPr marL="0" marR="0" lvl="0" indent="0" algn="l" defTabSz="896042"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gradFill>
                    <a:gsLst>
                      <a:gs pos="0">
                        <a:srgbClr val="404040"/>
                      </a:gs>
                      <a:gs pos="100000">
                        <a:srgbClr val="404040"/>
                      </a:gs>
                    </a:gsLst>
                    <a:lin ang="5400000" scaled="0"/>
                  </a:gradFill>
                  <a:effectLst/>
                  <a:uLnTx/>
                  <a:uFillTx/>
                  <a:latin typeface="Segoe UI Light"/>
                  <a:ea typeface="+mn-ea"/>
                  <a:cs typeface="+mn-cs"/>
                </a:rPr>
                <a:t>Custom Recognition</a:t>
              </a:r>
            </a:p>
          </p:txBody>
        </p:sp>
      </p:grpSp>
      <p:grpSp>
        <p:nvGrpSpPr>
          <p:cNvPr id="29" name="Group 28"/>
          <p:cNvGrpSpPr/>
          <p:nvPr/>
        </p:nvGrpSpPr>
        <p:grpSpPr>
          <a:xfrm>
            <a:off x="463054" y="2930267"/>
            <a:ext cx="2142075" cy="639988"/>
            <a:chOff x="6827776" y="3192468"/>
            <a:chExt cx="2459933" cy="533401"/>
          </a:xfrm>
          <a:solidFill>
            <a:schemeClr val="tx1"/>
          </a:solidFill>
        </p:grpSpPr>
        <p:sp>
          <p:nvSpPr>
            <p:cNvPr id="32" name="Flowchart: Process 8"/>
            <p:cNvSpPr/>
            <p:nvPr/>
          </p:nvSpPr>
          <p:spPr bwMode="auto">
            <a:xfrm>
              <a:off x="6827776" y="3192468"/>
              <a:ext cx="2459933" cy="53340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16" tIns="89616" rIns="33610" bIns="33610" rtlCol="0" anchor="b" anchorCtr="0"/>
            <a:lstStyle/>
            <a:p>
              <a:pPr marL="0" marR="0" lvl="0" indent="0" algn="ctr" defTabSz="91368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31" name="Rectangle 30"/>
            <p:cNvSpPr/>
            <p:nvPr/>
          </p:nvSpPr>
          <p:spPr>
            <a:xfrm>
              <a:off x="6986793" y="3268665"/>
              <a:ext cx="2130806" cy="388654"/>
            </a:xfrm>
            <a:prstGeom prst="rect">
              <a:avLst/>
            </a:prstGeom>
            <a:grpFill/>
            <a:ln w="9525" cap="flat" cmpd="sng" algn="ctr">
              <a:noFill/>
              <a:prstDash val="solid"/>
            </a:ln>
            <a:effectLst/>
          </p:spPr>
          <p:txBody>
            <a:bodyPr lIns="119299" tIns="59648" rIns="119299" bIns="59648" rtlCol="0" anchor="ctr"/>
            <a:lstStyle/>
            <a:p>
              <a:pPr marL="0" marR="0" lvl="0" indent="0" algn="l" defTabSz="896042"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gradFill>
                    <a:gsLst>
                      <a:gs pos="0">
                        <a:srgbClr val="404040"/>
                      </a:gs>
                      <a:gs pos="100000">
                        <a:srgbClr val="404040"/>
                      </a:gs>
                    </a:gsLst>
                    <a:lin ang="5400000" scaled="0"/>
                  </a:gradFill>
                  <a:effectLst/>
                  <a:uLnTx/>
                  <a:uFillTx/>
                  <a:latin typeface="Segoe UI Light"/>
                  <a:ea typeface="+mn-ea"/>
                  <a:cs typeface="+mn-cs"/>
                </a:rPr>
                <a:t>Computer Vision</a:t>
              </a:r>
            </a:p>
          </p:txBody>
        </p:sp>
      </p:grpSp>
      <p:grpSp>
        <p:nvGrpSpPr>
          <p:cNvPr id="34" name="Group 33"/>
          <p:cNvGrpSpPr/>
          <p:nvPr/>
        </p:nvGrpSpPr>
        <p:grpSpPr>
          <a:xfrm>
            <a:off x="463388" y="3657933"/>
            <a:ext cx="2143454" cy="639988"/>
            <a:chOff x="6827777" y="3802062"/>
            <a:chExt cx="2459932" cy="533400"/>
          </a:xfrm>
          <a:solidFill>
            <a:schemeClr val="tx1"/>
          </a:solidFill>
        </p:grpSpPr>
        <p:sp>
          <p:nvSpPr>
            <p:cNvPr id="37" name="Flowchart: Process 8"/>
            <p:cNvSpPr/>
            <p:nvPr/>
          </p:nvSpPr>
          <p:spPr bwMode="auto">
            <a:xfrm>
              <a:off x="6827777" y="3802062"/>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16" tIns="89616" rIns="33610" bIns="33610" rtlCol="0" anchor="b" anchorCtr="0"/>
            <a:lstStyle/>
            <a:p>
              <a:pPr marL="0" marR="0" lvl="0" indent="0" algn="ctr" defTabSz="91368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36" name="Rectangle 35"/>
            <p:cNvSpPr/>
            <p:nvPr/>
          </p:nvSpPr>
          <p:spPr>
            <a:xfrm>
              <a:off x="7014491" y="3892910"/>
              <a:ext cx="2103108" cy="388654"/>
            </a:xfrm>
            <a:prstGeom prst="rect">
              <a:avLst/>
            </a:prstGeom>
            <a:grpFill/>
            <a:ln w="9525" cap="flat" cmpd="sng" algn="ctr">
              <a:noFill/>
              <a:prstDash val="solid"/>
            </a:ln>
            <a:effectLst/>
          </p:spPr>
          <p:txBody>
            <a:bodyPr lIns="119299" tIns="59648" rIns="119299" bIns="59648" rtlCol="0" anchor="ctr"/>
            <a:lstStyle/>
            <a:p>
              <a:pPr marL="0" marR="0" lvl="0" indent="0" algn="l" defTabSz="896042"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gradFill>
                    <a:gsLst>
                      <a:gs pos="0">
                        <a:srgbClr val="404040"/>
                      </a:gs>
                      <a:gs pos="100000">
                        <a:srgbClr val="404040"/>
                      </a:gs>
                    </a:gsLst>
                    <a:lin ang="5400000" scaled="0"/>
                  </a:gradFill>
                  <a:effectLst/>
                  <a:uLnTx/>
                  <a:uFillTx/>
                  <a:latin typeface="Segoe UI Light"/>
                  <a:ea typeface="+mn-ea"/>
                  <a:cs typeface="+mn-cs"/>
                </a:rPr>
                <a:t>Face</a:t>
              </a:r>
            </a:p>
          </p:txBody>
        </p:sp>
      </p:grpSp>
      <p:grpSp>
        <p:nvGrpSpPr>
          <p:cNvPr id="39" name="Group 38"/>
          <p:cNvGrpSpPr/>
          <p:nvPr/>
        </p:nvGrpSpPr>
        <p:grpSpPr>
          <a:xfrm>
            <a:off x="463388" y="4385599"/>
            <a:ext cx="2141064" cy="639988"/>
            <a:chOff x="6827777" y="3802062"/>
            <a:chExt cx="2459932" cy="533400"/>
          </a:xfrm>
          <a:solidFill>
            <a:schemeClr val="tx1"/>
          </a:solidFill>
        </p:grpSpPr>
        <p:sp>
          <p:nvSpPr>
            <p:cNvPr id="42" name="Flowchart: Process 8"/>
            <p:cNvSpPr/>
            <p:nvPr/>
          </p:nvSpPr>
          <p:spPr bwMode="auto">
            <a:xfrm>
              <a:off x="6827777" y="3802062"/>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16" tIns="89616" rIns="33610" bIns="33610" rtlCol="0" anchor="b" anchorCtr="0"/>
            <a:lstStyle/>
            <a:p>
              <a:pPr marL="0" marR="0" lvl="0" indent="0" algn="ctr" defTabSz="91368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41" name="Rectangle 40"/>
            <p:cNvSpPr/>
            <p:nvPr/>
          </p:nvSpPr>
          <p:spPr>
            <a:xfrm>
              <a:off x="6994719" y="3892910"/>
              <a:ext cx="2122880" cy="388654"/>
            </a:xfrm>
            <a:prstGeom prst="rect">
              <a:avLst/>
            </a:prstGeom>
            <a:grpFill/>
            <a:ln w="9525" cap="flat" cmpd="sng" algn="ctr">
              <a:noFill/>
              <a:prstDash val="solid"/>
            </a:ln>
            <a:effectLst/>
          </p:spPr>
          <p:txBody>
            <a:bodyPr lIns="119299" tIns="59648" rIns="119299" bIns="59648" rtlCol="0" anchor="ctr"/>
            <a:lstStyle/>
            <a:p>
              <a:pPr marL="0" marR="0" lvl="0" indent="0" algn="l" defTabSz="896042"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gradFill>
                    <a:gsLst>
                      <a:gs pos="0">
                        <a:srgbClr val="404040"/>
                      </a:gs>
                      <a:gs pos="100000">
                        <a:srgbClr val="404040"/>
                      </a:gs>
                    </a:gsLst>
                    <a:lin ang="5400000" scaled="0"/>
                  </a:gradFill>
                  <a:effectLst/>
                  <a:uLnTx/>
                  <a:uFillTx/>
                  <a:latin typeface="Segoe UI Light"/>
                  <a:ea typeface="+mn-ea"/>
                  <a:cs typeface="+mn-cs"/>
                </a:rPr>
                <a:t>Video</a:t>
              </a:r>
            </a:p>
          </p:txBody>
        </p:sp>
      </p:grpSp>
      <p:pic>
        <p:nvPicPr>
          <p:cNvPr id="44" name="Picture 4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654787" y="2334672"/>
            <a:ext cx="302355" cy="366791"/>
          </a:xfrm>
          <a:prstGeom prst="rect">
            <a:avLst/>
          </a:prstGeom>
        </p:spPr>
      </p:pic>
      <p:sp>
        <p:nvSpPr>
          <p:cNvPr id="45" name="Right Bracket 44"/>
          <p:cNvSpPr/>
          <p:nvPr/>
        </p:nvSpPr>
        <p:spPr>
          <a:xfrm rot="16200000">
            <a:off x="6055476" y="-3810186"/>
            <a:ext cx="214117" cy="11811002"/>
          </a:xfrm>
          <a:prstGeom prst="rightBracket">
            <a:avLst>
              <a:gd name="adj" fmla="val 78933"/>
            </a:avLst>
          </a:prstGeom>
          <a:ln w="28575"/>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black"/>
              </a:solidFill>
              <a:effectLst/>
              <a:uLnTx/>
              <a:uFillTx/>
              <a:latin typeface="Segoe UI"/>
              <a:ea typeface="+mn-ea"/>
              <a:cs typeface="+mn-cs"/>
            </a:endParaRPr>
          </a:p>
        </p:txBody>
      </p:sp>
      <p:sp>
        <p:nvSpPr>
          <p:cNvPr id="46" name="Rectangle 45"/>
          <p:cNvSpPr/>
          <p:nvPr/>
        </p:nvSpPr>
        <p:spPr>
          <a:xfrm>
            <a:off x="274639" y="1328270"/>
            <a:ext cx="11889564" cy="568792"/>
          </a:xfrm>
          <a:prstGeom prst="rect">
            <a:avLst/>
          </a:prstGeom>
          <a:solidFill>
            <a:schemeClr val="tx1"/>
          </a:solidFill>
          <a:ln w="25400" cap="flat" cmpd="sng" algn="ctr">
            <a:noFill/>
            <a:prstDash val="solid"/>
          </a:ln>
          <a:effectLst/>
        </p:spPr>
        <p:txBody>
          <a:bodyPr lIns="119315" tIns="59657" rIns="119315" bIns="59657"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defTabSz="896214">
              <a:defRPr/>
            </a:pPr>
            <a:r>
              <a:rPr kumimoji="0" lang="en-US" sz="3400" b="1" i="0" u="none" strike="noStrike" kern="0" cap="none" spc="0" normalizeH="0" baseline="0" noProof="0" dirty="0">
                <a:ln>
                  <a:noFill/>
                </a:ln>
                <a:solidFill>
                  <a:srgbClr val="505050"/>
                </a:solidFill>
                <a:effectLst/>
                <a:uLnTx/>
                <a:uFillTx/>
                <a:latin typeface="Segoe UI Light"/>
                <a:ea typeface="+mn-ea"/>
                <a:cs typeface="+mn-cs"/>
              </a:rPr>
              <a:t> </a:t>
            </a:r>
            <a:r>
              <a:rPr lang="en-US" sz="3400" b="1" kern="0" dirty="0">
                <a:solidFill>
                  <a:srgbClr val="505050"/>
                </a:solidFill>
                <a:latin typeface="Segoe UI Light"/>
              </a:rPr>
              <a:t>Cognitive Services        </a:t>
            </a:r>
            <a:r>
              <a:rPr lang="en-US" sz="3400" b="1" kern="0" dirty="0" err="1">
                <a:solidFill>
                  <a:srgbClr val="505050"/>
                </a:solidFill>
                <a:latin typeface="Segoe UI Light"/>
              </a:rPr>
              <a:t>microsoft</a:t>
            </a:r>
            <a:r>
              <a:rPr kumimoji="0" lang="en-US" sz="3400" b="1" i="0" u="none" strike="noStrike" kern="0" cap="none" spc="0" normalizeH="0" baseline="0" noProof="0" dirty="0">
                <a:ln>
                  <a:noFill/>
                </a:ln>
                <a:solidFill>
                  <a:srgbClr val="505050"/>
                </a:solidFill>
                <a:effectLst/>
                <a:uLnTx/>
                <a:uFillTx/>
                <a:latin typeface="Segoe UI Light"/>
                <a:ea typeface="+mn-ea"/>
                <a:cs typeface="+mn-cs"/>
              </a:rPr>
              <a:t>.com/cognitive</a:t>
            </a:r>
          </a:p>
        </p:txBody>
      </p:sp>
      <p:grpSp>
        <p:nvGrpSpPr>
          <p:cNvPr id="48" name="Group 47"/>
          <p:cNvGrpSpPr/>
          <p:nvPr/>
        </p:nvGrpSpPr>
        <p:grpSpPr>
          <a:xfrm>
            <a:off x="9809120" y="2212081"/>
            <a:ext cx="2222405" cy="639989"/>
            <a:chOff x="803519" y="1881281"/>
            <a:chExt cx="2222721" cy="640080"/>
          </a:xfrm>
        </p:grpSpPr>
        <p:sp>
          <p:nvSpPr>
            <p:cNvPr id="50" name="Rectangle 49"/>
            <p:cNvSpPr/>
            <p:nvPr/>
          </p:nvSpPr>
          <p:spPr>
            <a:xfrm>
              <a:off x="803519" y="1881281"/>
              <a:ext cx="2222721" cy="640080"/>
            </a:xfrm>
            <a:prstGeom prst="rect">
              <a:avLst/>
            </a:prstGeom>
            <a:solidFill>
              <a:srgbClr val="009580"/>
            </a:solidFill>
            <a:ln w="9525" cap="flat" cmpd="sng" algn="ctr">
              <a:noFill/>
              <a:prstDash val="solid"/>
            </a:ln>
            <a:effectLst/>
          </p:spPr>
          <p:txBody>
            <a:bodyPr lIns="119299" tIns="59648" rIns="119299" bIns="59648"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mn-cs"/>
              </a:endParaRPr>
            </a:p>
          </p:txBody>
        </p:sp>
        <p:sp>
          <p:nvSpPr>
            <p:cNvPr id="51" name="TextBox 50"/>
            <p:cNvSpPr txBox="1"/>
            <p:nvPr/>
          </p:nvSpPr>
          <p:spPr>
            <a:xfrm>
              <a:off x="1202293" y="1886159"/>
              <a:ext cx="1402359" cy="627912"/>
            </a:xfrm>
            <a:prstGeom prst="rect">
              <a:avLst/>
            </a:prstGeom>
            <a:solidFill>
              <a:srgbClr val="009580"/>
            </a:solidFill>
            <a:ln>
              <a:noFill/>
            </a:ln>
          </p:spPr>
          <p:txBody>
            <a:bodyPr wrap="square" lIns="182854" tIns="146283" rIns="182854" bIns="146283" rtlCol="0" anchor="ctr">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Search</a:t>
              </a:r>
            </a:p>
          </p:txBody>
        </p:sp>
      </p:grpSp>
      <p:grpSp>
        <p:nvGrpSpPr>
          <p:cNvPr id="54" name="Group 53"/>
          <p:cNvGrpSpPr/>
          <p:nvPr/>
        </p:nvGrpSpPr>
        <p:grpSpPr>
          <a:xfrm>
            <a:off x="2736251" y="2204907"/>
            <a:ext cx="2259962" cy="639989"/>
            <a:chOff x="803519" y="1881281"/>
            <a:chExt cx="2227717" cy="640080"/>
          </a:xfrm>
        </p:grpSpPr>
        <p:sp>
          <p:nvSpPr>
            <p:cNvPr id="57" name="Rectangle 56"/>
            <p:cNvSpPr/>
            <p:nvPr/>
          </p:nvSpPr>
          <p:spPr>
            <a:xfrm>
              <a:off x="803519" y="1881281"/>
              <a:ext cx="2227717" cy="640080"/>
            </a:xfrm>
            <a:prstGeom prst="rect">
              <a:avLst/>
            </a:prstGeom>
            <a:solidFill>
              <a:srgbClr val="009580"/>
            </a:solidFill>
            <a:ln w="9525" cap="flat" cmpd="sng" algn="ctr">
              <a:noFill/>
              <a:prstDash val="solid"/>
            </a:ln>
            <a:effectLst/>
          </p:spPr>
          <p:txBody>
            <a:bodyPr lIns="119299" tIns="59648" rIns="119299" bIns="59648"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mn-cs"/>
              </a:endParaRPr>
            </a:p>
          </p:txBody>
        </p:sp>
        <p:sp>
          <p:nvSpPr>
            <p:cNvPr id="58" name="TextBox 57"/>
            <p:cNvSpPr txBox="1"/>
            <p:nvPr/>
          </p:nvSpPr>
          <p:spPr>
            <a:xfrm>
              <a:off x="1213136" y="1886159"/>
              <a:ext cx="1533417" cy="627912"/>
            </a:xfrm>
            <a:prstGeom prst="rect">
              <a:avLst/>
            </a:prstGeom>
            <a:solidFill>
              <a:srgbClr val="009580"/>
            </a:solidFill>
            <a:ln>
              <a:noFill/>
            </a:ln>
          </p:spPr>
          <p:txBody>
            <a:bodyPr wrap="square" lIns="182854" tIns="146283" rIns="182854" bIns="146283" rtlCol="0" anchor="ctr">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Speech</a:t>
              </a:r>
            </a:p>
          </p:txBody>
        </p:sp>
      </p:grpSp>
      <p:grpSp>
        <p:nvGrpSpPr>
          <p:cNvPr id="61" name="Group 60"/>
          <p:cNvGrpSpPr/>
          <p:nvPr/>
        </p:nvGrpSpPr>
        <p:grpSpPr>
          <a:xfrm>
            <a:off x="5094771" y="2213288"/>
            <a:ext cx="2229707" cy="639989"/>
            <a:chOff x="803520" y="1881281"/>
            <a:chExt cx="2230024" cy="640080"/>
          </a:xfrm>
        </p:grpSpPr>
        <p:sp>
          <p:nvSpPr>
            <p:cNvPr id="63" name="Rectangle 62"/>
            <p:cNvSpPr/>
            <p:nvPr/>
          </p:nvSpPr>
          <p:spPr>
            <a:xfrm>
              <a:off x="803520" y="1881281"/>
              <a:ext cx="2230024" cy="640080"/>
            </a:xfrm>
            <a:prstGeom prst="rect">
              <a:avLst/>
            </a:prstGeom>
            <a:solidFill>
              <a:srgbClr val="009580"/>
            </a:solidFill>
            <a:ln w="9525" cap="flat" cmpd="sng" algn="ctr">
              <a:noFill/>
              <a:prstDash val="solid"/>
            </a:ln>
            <a:effectLst/>
          </p:spPr>
          <p:txBody>
            <a:bodyPr lIns="119299" tIns="59648" rIns="119299" bIns="59648"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mn-cs"/>
              </a:endParaRPr>
            </a:p>
          </p:txBody>
        </p:sp>
        <p:sp>
          <p:nvSpPr>
            <p:cNvPr id="64" name="TextBox 63"/>
            <p:cNvSpPr txBox="1"/>
            <p:nvPr/>
          </p:nvSpPr>
          <p:spPr>
            <a:xfrm>
              <a:off x="1121106" y="1886159"/>
              <a:ext cx="1702127" cy="627912"/>
            </a:xfrm>
            <a:prstGeom prst="rect">
              <a:avLst/>
            </a:prstGeom>
            <a:solidFill>
              <a:srgbClr val="009580"/>
            </a:solidFill>
            <a:ln>
              <a:noFill/>
            </a:ln>
          </p:spPr>
          <p:txBody>
            <a:bodyPr wrap="square" lIns="182854" tIns="146283" rIns="182854" bIns="146283" rtlCol="0" anchor="ctr">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Language</a:t>
              </a:r>
            </a:p>
          </p:txBody>
        </p:sp>
      </p:grpSp>
      <p:grpSp>
        <p:nvGrpSpPr>
          <p:cNvPr id="66" name="Group 65"/>
          <p:cNvGrpSpPr/>
          <p:nvPr/>
        </p:nvGrpSpPr>
        <p:grpSpPr>
          <a:xfrm>
            <a:off x="7455596" y="2212081"/>
            <a:ext cx="2222406" cy="639989"/>
            <a:chOff x="803520" y="1881281"/>
            <a:chExt cx="2222721" cy="640080"/>
          </a:xfrm>
        </p:grpSpPr>
        <p:sp>
          <p:nvSpPr>
            <p:cNvPr id="68" name="Rectangle 67"/>
            <p:cNvSpPr/>
            <p:nvPr/>
          </p:nvSpPr>
          <p:spPr>
            <a:xfrm>
              <a:off x="803520" y="1881281"/>
              <a:ext cx="2222721" cy="640080"/>
            </a:xfrm>
            <a:prstGeom prst="rect">
              <a:avLst/>
            </a:prstGeom>
            <a:solidFill>
              <a:srgbClr val="009580"/>
            </a:solidFill>
            <a:ln w="9525" cap="flat" cmpd="sng" algn="ctr">
              <a:noFill/>
              <a:prstDash val="solid"/>
            </a:ln>
            <a:effectLst/>
          </p:spPr>
          <p:txBody>
            <a:bodyPr lIns="119299" tIns="59648" rIns="119299" bIns="59648"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mn-cs"/>
              </a:endParaRPr>
            </a:p>
          </p:txBody>
        </p:sp>
        <p:sp>
          <p:nvSpPr>
            <p:cNvPr id="69" name="TextBox 68"/>
            <p:cNvSpPr txBox="1"/>
            <p:nvPr/>
          </p:nvSpPr>
          <p:spPr>
            <a:xfrm>
              <a:off x="1147970" y="1886159"/>
              <a:ext cx="1824157" cy="627912"/>
            </a:xfrm>
            <a:prstGeom prst="rect">
              <a:avLst/>
            </a:prstGeom>
            <a:solidFill>
              <a:srgbClr val="009580"/>
            </a:solidFill>
            <a:ln>
              <a:noFill/>
            </a:ln>
          </p:spPr>
          <p:txBody>
            <a:bodyPr wrap="square" lIns="182854" tIns="146283" rIns="182854" bIns="146283" rtlCol="0" anchor="ctr">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Knowledge</a:t>
              </a:r>
            </a:p>
          </p:txBody>
        </p:sp>
      </p:grpSp>
      <p:grpSp>
        <p:nvGrpSpPr>
          <p:cNvPr id="71" name="Group 70"/>
          <p:cNvGrpSpPr/>
          <p:nvPr/>
        </p:nvGrpSpPr>
        <p:grpSpPr>
          <a:xfrm>
            <a:off x="463054" y="2202600"/>
            <a:ext cx="2142077" cy="639989"/>
            <a:chOff x="803520" y="1881281"/>
            <a:chExt cx="2219313" cy="640080"/>
          </a:xfrm>
        </p:grpSpPr>
        <p:sp>
          <p:nvSpPr>
            <p:cNvPr id="73" name="Rectangle 72"/>
            <p:cNvSpPr/>
            <p:nvPr/>
          </p:nvSpPr>
          <p:spPr>
            <a:xfrm>
              <a:off x="803520" y="1881281"/>
              <a:ext cx="2219313" cy="640080"/>
            </a:xfrm>
            <a:prstGeom prst="rect">
              <a:avLst/>
            </a:prstGeom>
            <a:solidFill>
              <a:srgbClr val="009580"/>
            </a:solidFill>
            <a:ln w="9525" cap="flat" cmpd="sng" algn="ctr">
              <a:noFill/>
              <a:prstDash val="solid"/>
            </a:ln>
            <a:effectLst/>
          </p:spPr>
          <p:txBody>
            <a:bodyPr lIns="119299" tIns="59648" rIns="119299" bIns="59648"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mn-cs"/>
              </a:endParaRPr>
            </a:p>
          </p:txBody>
        </p:sp>
        <p:sp>
          <p:nvSpPr>
            <p:cNvPr id="74" name="TextBox 73"/>
            <p:cNvSpPr txBox="1"/>
            <p:nvPr/>
          </p:nvSpPr>
          <p:spPr>
            <a:xfrm>
              <a:off x="1227725" y="1886159"/>
              <a:ext cx="1177272" cy="627911"/>
            </a:xfrm>
            <a:prstGeom prst="rect">
              <a:avLst/>
            </a:prstGeom>
            <a:noFill/>
            <a:ln>
              <a:noFill/>
            </a:ln>
          </p:spPr>
          <p:txBody>
            <a:bodyPr wrap="square" lIns="182854" tIns="146283" rIns="182854" bIns="146283" rtlCol="0" anchor="ctr">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Vision</a:t>
              </a:r>
            </a:p>
          </p:txBody>
        </p:sp>
      </p:grpSp>
      <p:grpSp>
        <p:nvGrpSpPr>
          <p:cNvPr id="75" name="Group 74"/>
          <p:cNvGrpSpPr/>
          <p:nvPr/>
        </p:nvGrpSpPr>
        <p:grpSpPr>
          <a:xfrm>
            <a:off x="5093975" y="3657933"/>
            <a:ext cx="2215165" cy="639988"/>
            <a:chOff x="9701909" y="5021262"/>
            <a:chExt cx="2459932" cy="533400"/>
          </a:xfrm>
          <a:solidFill>
            <a:schemeClr val="tx1"/>
          </a:solidFill>
        </p:grpSpPr>
        <p:sp>
          <p:nvSpPr>
            <p:cNvPr id="78" name="Flowchart: Process 8"/>
            <p:cNvSpPr/>
            <p:nvPr/>
          </p:nvSpPr>
          <p:spPr bwMode="auto">
            <a:xfrm>
              <a:off x="9701909" y="5021262"/>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16" tIns="89616" rIns="33610" bIns="33610" rtlCol="0" anchor="b" anchorCtr="0"/>
            <a:lstStyle/>
            <a:p>
              <a:pPr marL="0" marR="0" lvl="0" indent="0" algn="ctr" defTabSz="91368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77" name="Rectangle 76"/>
            <p:cNvSpPr/>
            <p:nvPr/>
          </p:nvSpPr>
          <p:spPr>
            <a:xfrm>
              <a:off x="9793736" y="5125889"/>
              <a:ext cx="2211413" cy="324146"/>
            </a:xfrm>
            <a:prstGeom prst="rect">
              <a:avLst/>
            </a:prstGeom>
            <a:grpFill/>
            <a:ln w="9525" cap="flat" cmpd="sng" algn="ctr">
              <a:noFill/>
              <a:prstDash val="solid"/>
            </a:ln>
            <a:effectLst/>
          </p:spPr>
          <p:txBody>
            <a:bodyPr lIns="119299" tIns="59648" rIns="119299" bIns="59648" rtlCol="0" anchor="ctr"/>
            <a:lstStyle/>
            <a:p>
              <a:pPr marL="0" marR="0" lvl="0" indent="0" algn="l" defTabSz="896042"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gradFill>
                    <a:gsLst>
                      <a:gs pos="0">
                        <a:srgbClr val="404040"/>
                      </a:gs>
                      <a:gs pos="100000">
                        <a:srgbClr val="404040"/>
                      </a:gs>
                    </a:gsLst>
                    <a:lin ang="5400000" scaled="0"/>
                  </a:gradFill>
                  <a:effectLst/>
                  <a:uLnTx/>
                  <a:uFillTx/>
                  <a:latin typeface="Segoe UI Light"/>
                  <a:ea typeface="+mn-ea"/>
                  <a:cs typeface="+mn-cs"/>
                </a:rPr>
                <a:t>Linguistic Analysis</a:t>
              </a:r>
            </a:p>
          </p:txBody>
        </p:sp>
      </p:grpSp>
      <p:grpSp>
        <p:nvGrpSpPr>
          <p:cNvPr id="80" name="Group 79"/>
          <p:cNvGrpSpPr/>
          <p:nvPr/>
        </p:nvGrpSpPr>
        <p:grpSpPr>
          <a:xfrm>
            <a:off x="5079850" y="4385599"/>
            <a:ext cx="2215171" cy="639988"/>
            <a:chOff x="9701909" y="5630862"/>
            <a:chExt cx="2459932" cy="533400"/>
          </a:xfrm>
          <a:solidFill>
            <a:schemeClr val="tx1"/>
          </a:solidFill>
        </p:grpSpPr>
        <p:sp>
          <p:nvSpPr>
            <p:cNvPr id="83" name="Flowchart: Process 8"/>
            <p:cNvSpPr/>
            <p:nvPr/>
          </p:nvSpPr>
          <p:spPr bwMode="auto">
            <a:xfrm>
              <a:off x="9701909" y="5630862"/>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16" tIns="89616" rIns="33610" bIns="33610" rtlCol="0" anchor="b" anchorCtr="0"/>
            <a:lstStyle/>
            <a:p>
              <a:pPr marL="0" marR="0" lvl="0" indent="0" algn="ctr" defTabSz="91368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82" name="Rectangle 81"/>
            <p:cNvSpPr/>
            <p:nvPr/>
          </p:nvSpPr>
          <p:spPr>
            <a:xfrm>
              <a:off x="9795160" y="5631889"/>
              <a:ext cx="2354349" cy="530950"/>
            </a:xfrm>
            <a:prstGeom prst="rect">
              <a:avLst/>
            </a:prstGeom>
            <a:grpFill/>
            <a:ln w="9525" cap="flat" cmpd="sng" algn="ctr">
              <a:noFill/>
              <a:prstDash val="solid"/>
            </a:ln>
            <a:effectLst/>
          </p:spPr>
          <p:txBody>
            <a:bodyPr lIns="119299" tIns="59648" rIns="119299" bIns="59648" rtlCol="0" anchor="ctr"/>
            <a:lstStyle/>
            <a:p>
              <a:pPr marL="0" marR="0" lvl="0" indent="0" algn="l" defTabSz="896042"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gradFill>
                    <a:gsLst>
                      <a:gs pos="0">
                        <a:srgbClr val="404040"/>
                      </a:gs>
                      <a:gs pos="100000">
                        <a:srgbClr val="404040"/>
                      </a:gs>
                    </a:gsLst>
                    <a:lin ang="5400000" scaled="0"/>
                  </a:gradFill>
                  <a:effectLst/>
                  <a:uLnTx/>
                  <a:uFillTx/>
                  <a:latin typeface="Segoe UI Light"/>
                  <a:ea typeface="+mn-ea"/>
                  <a:cs typeface="+mn-cs"/>
                </a:rPr>
                <a:t>Language Understanding</a:t>
              </a:r>
            </a:p>
          </p:txBody>
        </p:sp>
      </p:grpSp>
      <p:grpSp>
        <p:nvGrpSpPr>
          <p:cNvPr id="85" name="Group 84"/>
          <p:cNvGrpSpPr/>
          <p:nvPr/>
        </p:nvGrpSpPr>
        <p:grpSpPr>
          <a:xfrm>
            <a:off x="5101045" y="2930267"/>
            <a:ext cx="2216053" cy="639985"/>
            <a:chOff x="9701907" y="3192460"/>
            <a:chExt cx="2459932" cy="533400"/>
          </a:xfrm>
          <a:solidFill>
            <a:schemeClr val="tx1"/>
          </a:solidFill>
        </p:grpSpPr>
        <p:sp>
          <p:nvSpPr>
            <p:cNvPr id="88" name="Flowchart: Process 8"/>
            <p:cNvSpPr/>
            <p:nvPr/>
          </p:nvSpPr>
          <p:spPr bwMode="auto">
            <a:xfrm>
              <a:off x="9701907" y="3192460"/>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16" tIns="89616" rIns="33610" bIns="33610" rtlCol="0" anchor="b" anchorCtr="0"/>
            <a:lstStyle/>
            <a:p>
              <a:pPr marL="0" marR="0" lvl="0" indent="0" algn="ctr" defTabSz="91368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87" name="Rectangle 86"/>
            <p:cNvSpPr/>
            <p:nvPr/>
          </p:nvSpPr>
          <p:spPr>
            <a:xfrm>
              <a:off x="9836196" y="3268662"/>
              <a:ext cx="2325642" cy="388654"/>
            </a:xfrm>
            <a:prstGeom prst="rect">
              <a:avLst/>
            </a:prstGeom>
            <a:grpFill/>
            <a:ln w="9525" cap="flat" cmpd="sng" algn="ctr">
              <a:noFill/>
              <a:prstDash val="solid"/>
            </a:ln>
            <a:effectLst/>
          </p:spPr>
          <p:txBody>
            <a:bodyPr lIns="119299" tIns="59648" rIns="119299" bIns="59648" rtlCol="0" anchor="ctr"/>
            <a:lstStyle/>
            <a:p>
              <a:pPr marL="0" marR="0" lvl="0" indent="0" algn="l" defTabSz="896042"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gradFill>
                    <a:gsLst>
                      <a:gs pos="0">
                        <a:srgbClr val="404040"/>
                      </a:gs>
                      <a:gs pos="100000">
                        <a:srgbClr val="404040"/>
                      </a:gs>
                    </a:gsLst>
                    <a:lin ang="5400000" scaled="0"/>
                  </a:gradFill>
                  <a:effectLst/>
                  <a:uLnTx/>
                  <a:uFillTx/>
                  <a:latin typeface="Segoe UI Light"/>
                  <a:ea typeface="+mn-ea"/>
                  <a:cs typeface="+mn-cs"/>
                </a:rPr>
                <a:t>Bing Spell Check</a:t>
              </a:r>
            </a:p>
          </p:txBody>
        </p:sp>
      </p:grpSp>
      <p:grpSp>
        <p:nvGrpSpPr>
          <p:cNvPr id="90" name="Group 89"/>
          <p:cNvGrpSpPr/>
          <p:nvPr/>
        </p:nvGrpSpPr>
        <p:grpSpPr>
          <a:xfrm>
            <a:off x="7467385" y="3657933"/>
            <a:ext cx="2215090" cy="639988"/>
            <a:chOff x="9701909" y="5021262"/>
            <a:chExt cx="2459932" cy="533400"/>
          </a:xfrm>
          <a:solidFill>
            <a:schemeClr val="tx1"/>
          </a:solidFill>
        </p:grpSpPr>
        <p:sp>
          <p:nvSpPr>
            <p:cNvPr id="93" name="Flowchart: Process 8"/>
            <p:cNvSpPr/>
            <p:nvPr/>
          </p:nvSpPr>
          <p:spPr bwMode="auto">
            <a:xfrm>
              <a:off x="9701909" y="5021262"/>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16" tIns="89616" rIns="33610" bIns="33610" rtlCol="0" anchor="b" anchorCtr="0"/>
            <a:lstStyle/>
            <a:p>
              <a:pPr marL="0" marR="0" lvl="0" indent="0" algn="ctr" defTabSz="91368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92" name="Rectangle 91"/>
            <p:cNvSpPr/>
            <p:nvPr/>
          </p:nvSpPr>
          <p:spPr>
            <a:xfrm>
              <a:off x="9869331" y="5125889"/>
              <a:ext cx="2143840" cy="324146"/>
            </a:xfrm>
            <a:prstGeom prst="rect">
              <a:avLst/>
            </a:prstGeom>
            <a:grpFill/>
            <a:ln w="9525" cap="flat" cmpd="sng" algn="ctr">
              <a:noFill/>
              <a:prstDash val="solid"/>
            </a:ln>
            <a:effectLst/>
          </p:spPr>
          <p:txBody>
            <a:bodyPr lIns="119299" tIns="59648" rIns="119299" bIns="59648" rtlCol="0" anchor="ctr"/>
            <a:lstStyle/>
            <a:p>
              <a:pPr marL="0" marR="0" lvl="0" indent="0" algn="l" defTabSz="896042"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gradFill>
                    <a:gsLst>
                      <a:gs pos="0">
                        <a:srgbClr val="404040"/>
                      </a:gs>
                      <a:gs pos="100000">
                        <a:srgbClr val="404040"/>
                      </a:gs>
                    </a:gsLst>
                    <a:lin ang="5400000" scaled="0"/>
                  </a:gradFill>
                  <a:effectLst/>
                  <a:uLnTx/>
                  <a:uFillTx/>
                  <a:latin typeface="Segoe UI Light"/>
                  <a:ea typeface="+mn-ea"/>
                  <a:cs typeface="+mn-cs"/>
                </a:rPr>
                <a:t>Entity Linking</a:t>
              </a:r>
            </a:p>
          </p:txBody>
        </p:sp>
      </p:grpSp>
      <p:grpSp>
        <p:nvGrpSpPr>
          <p:cNvPr id="95" name="Group 94"/>
          <p:cNvGrpSpPr/>
          <p:nvPr/>
        </p:nvGrpSpPr>
        <p:grpSpPr>
          <a:xfrm>
            <a:off x="7459357" y="4385599"/>
            <a:ext cx="2223118" cy="639988"/>
            <a:chOff x="9701909" y="5630862"/>
            <a:chExt cx="2459932" cy="533400"/>
          </a:xfrm>
          <a:solidFill>
            <a:schemeClr val="tx1"/>
          </a:solidFill>
        </p:grpSpPr>
        <p:sp>
          <p:nvSpPr>
            <p:cNvPr id="98" name="Flowchart: Process 8"/>
            <p:cNvSpPr/>
            <p:nvPr/>
          </p:nvSpPr>
          <p:spPr bwMode="auto">
            <a:xfrm>
              <a:off x="9701909" y="5630862"/>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16" tIns="89616" rIns="33610" bIns="33610" rtlCol="0" anchor="b" anchorCtr="0"/>
            <a:lstStyle/>
            <a:p>
              <a:pPr marL="0" marR="0" lvl="0" indent="0" algn="ctr" defTabSz="91368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97" name="Rectangle 96"/>
            <p:cNvSpPr/>
            <p:nvPr/>
          </p:nvSpPr>
          <p:spPr>
            <a:xfrm>
              <a:off x="9870712" y="5631889"/>
              <a:ext cx="2130568" cy="530950"/>
            </a:xfrm>
            <a:prstGeom prst="rect">
              <a:avLst/>
            </a:prstGeom>
            <a:grpFill/>
            <a:ln w="9525" cap="flat" cmpd="sng" algn="ctr">
              <a:noFill/>
              <a:prstDash val="solid"/>
            </a:ln>
            <a:effectLst/>
          </p:spPr>
          <p:txBody>
            <a:bodyPr lIns="119299" tIns="59648" rIns="119299" bIns="59648" rtlCol="0" anchor="ctr"/>
            <a:lstStyle/>
            <a:p>
              <a:pPr marL="0" marR="0" lvl="0" indent="0" algn="l" defTabSz="896042"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gradFill>
                    <a:gsLst>
                      <a:gs pos="0">
                        <a:srgbClr val="404040"/>
                      </a:gs>
                      <a:gs pos="100000">
                        <a:srgbClr val="404040"/>
                      </a:gs>
                    </a:gsLst>
                    <a:lin ang="5400000" scaled="0"/>
                  </a:gradFill>
                  <a:effectLst/>
                  <a:uLnTx/>
                  <a:uFillTx/>
                  <a:latin typeface="Segoe UI Light"/>
                  <a:ea typeface="+mn-ea"/>
                  <a:cs typeface="+mn-cs"/>
                </a:rPr>
                <a:t>Knowledge Exploration</a:t>
              </a:r>
            </a:p>
          </p:txBody>
        </p:sp>
      </p:grpSp>
      <p:grpSp>
        <p:nvGrpSpPr>
          <p:cNvPr id="100" name="Group 99"/>
          <p:cNvGrpSpPr/>
          <p:nvPr/>
        </p:nvGrpSpPr>
        <p:grpSpPr>
          <a:xfrm>
            <a:off x="7443470" y="2930267"/>
            <a:ext cx="2226198" cy="639985"/>
            <a:chOff x="9701907" y="3192460"/>
            <a:chExt cx="2459932" cy="533400"/>
          </a:xfrm>
          <a:solidFill>
            <a:schemeClr val="tx1"/>
          </a:solidFill>
        </p:grpSpPr>
        <p:sp>
          <p:nvSpPr>
            <p:cNvPr id="103" name="Flowchart: Process 8"/>
            <p:cNvSpPr/>
            <p:nvPr/>
          </p:nvSpPr>
          <p:spPr bwMode="auto">
            <a:xfrm>
              <a:off x="9701907" y="3192460"/>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16" tIns="89616" rIns="33610" bIns="33610" rtlCol="0" anchor="b" anchorCtr="0"/>
            <a:lstStyle/>
            <a:p>
              <a:pPr marL="0" marR="0" lvl="0" indent="0" algn="ctr" defTabSz="91368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102" name="Rectangle 101"/>
            <p:cNvSpPr/>
            <p:nvPr/>
          </p:nvSpPr>
          <p:spPr>
            <a:xfrm>
              <a:off x="9857784" y="3268662"/>
              <a:ext cx="2143840" cy="388654"/>
            </a:xfrm>
            <a:prstGeom prst="rect">
              <a:avLst/>
            </a:prstGeom>
            <a:grpFill/>
            <a:ln w="9525" cap="flat" cmpd="sng" algn="ctr">
              <a:noFill/>
              <a:prstDash val="solid"/>
            </a:ln>
            <a:effectLst/>
          </p:spPr>
          <p:txBody>
            <a:bodyPr lIns="119299" tIns="59648" rIns="119299" bIns="59648" rtlCol="0" anchor="ctr"/>
            <a:lstStyle/>
            <a:p>
              <a:pPr marL="0" marR="0" lvl="0" indent="0" algn="l" defTabSz="896042"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gradFill>
                    <a:gsLst>
                      <a:gs pos="0">
                        <a:srgbClr val="404040"/>
                      </a:gs>
                      <a:gs pos="100000">
                        <a:srgbClr val="404040"/>
                      </a:gs>
                    </a:gsLst>
                    <a:lin ang="5400000" scaled="0"/>
                  </a:gradFill>
                  <a:effectLst/>
                  <a:uLnTx/>
                  <a:uFillTx/>
                  <a:latin typeface="Segoe UI Light"/>
                  <a:ea typeface="+mn-ea"/>
                  <a:cs typeface="+mn-cs"/>
                </a:rPr>
                <a:t>Academic Knowledge </a:t>
              </a:r>
            </a:p>
          </p:txBody>
        </p:sp>
      </p:grpSp>
      <p:grpSp>
        <p:nvGrpSpPr>
          <p:cNvPr id="105" name="Group 104"/>
          <p:cNvGrpSpPr/>
          <p:nvPr/>
        </p:nvGrpSpPr>
        <p:grpSpPr>
          <a:xfrm>
            <a:off x="9796039" y="3657933"/>
            <a:ext cx="2219546" cy="639988"/>
            <a:chOff x="9701909" y="5021262"/>
            <a:chExt cx="2459932" cy="533400"/>
          </a:xfrm>
          <a:solidFill>
            <a:schemeClr val="tx1"/>
          </a:solidFill>
        </p:grpSpPr>
        <p:sp>
          <p:nvSpPr>
            <p:cNvPr id="108" name="Flowchart: Process 8"/>
            <p:cNvSpPr/>
            <p:nvPr/>
          </p:nvSpPr>
          <p:spPr bwMode="auto">
            <a:xfrm>
              <a:off x="9701909" y="5021262"/>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16" tIns="89616" rIns="33610" bIns="33610" rtlCol="0" anchor="b" anchorCtr="0"/>
            <a:lstStyle/>
            <a:p>
              <a:pPr marL="0" marR="0" lvl="0" indent="0" algn="ctr" defTabSz="91368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107" name="Rectangle 106"/>
            <p:cNvSpPr/>
            <p:nvPr/>
          </p:nvSpPr>
          <p:spPr>
            <a:xfrm>
              <a:off x="9815712" y="5125889"/>
              <a:ext cx="2289449" cy="324146"/>
            </a:xfrm>
            <a:prstGeom prst="rect">
              <a:avLst/>
            </a:prstGeom>
            <a:grpFill/>
            <a:ln w="9525" cap="flat" cmpd="sng" algn="ctr">
              <a:noFill/>
              <a:prstDash val="solid"/>
            </a:ln>
            <a:effectLst/>
          </p:spPr>
          <p:txBody>
            <a:bodyPr lIns="119299" tIns="59648" rIns="119299" bIns="59648" rtlCol="0" anchor="ctr"/>
            <a:lstStyle/>
            <a:p>
              <a:pPr marL="0" marR="0" lvl="0" indent="0" algn="l" defTabSz="896042"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gradFill>
                    <a:gsLst>
                      <a:gs pos="0">
                        <a:srgbClr val="404040"/>
                      </a:gs>
                      <a:gs pos="100000">
                        <a:srgbClr val="404040"/>
                      </a:gs>
                    </a:gsLst>
                    <a:lin ang="5400000" scaled="0"/>
                  </a:gradFill>
                  <a:effectLst/>
                  <a:uLnTx/>
                  <a:uFillTx/>
                  <a:latin typeface="Segoe UI Light"/>
                  <a:ea typeface="+mn-ea"/>
                  <a:cs typeface="+mn-cs"/>
                </a:rPr>
                <a:t>Bing </a:t>
              </a:r>
            </a:p>
            <a:p>
              <a:pPr marL="0" marR="0" lvl="0" indent="0" algn="l" defTabSz="896042"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gradFill>
                    <a:gsLst>
                      <a:gs pos="0">
                        <a:srgbClr val="404040"/>
                      </a:gs>
                      <a:gs pos="100000">
                        <a:srgbClr val="404040"/>
                      </a:gs>
                    </a:gsLst>
                    <a:lin ang="5400000" scaled="0"/>
                  </a:gradFill>
                  <a:effectLst/>
                  <a:uLnTx/>
                  <a:uFillTx/>
                  <a:latin typeface="Segoe UI Light"/>
                  <a:ea typeface="+mn-ea"/>
                  <a:cs typeface="+mn-cs"/>
                </a:rPr>
                <a:t>Image Search</a:t>
              </a:r>
            </a:p>
          </p:txBody>
        </p:sp>
      </p:grpSp>
      <p:grpSp>
        <p:nvGrpSpPr>
          <p:cNvPr id="110" name="Group 109"/>
          <p:cNvGrpSpPr/>
          <p:nvPr/>
        </p:nvGrpSpPr>
        <p:grpSpPr>
          <a:xfrm>
            <a:off x="9807089" y="4385599"/>
            <a:ext cx="2214059" cy="639988"/>
            <a:chOff x="9701909" y="5630862"/>
            <a:chExt cx="2459932" cy="533400"/>
          </a:xfrm>
          <a:solidFill>
            <a:schemeClr val="tx1"/>
          </a:solidFill>
        </p:grpSpPr>
        <p:sp>
          <p:nvSpPr>
            <p:cNvPr id="113" name="Flowchart: Process 8"/>
            <p:cNvSpPr/>
            <p:nvPr/>
          </p:nvSpPr>
          <p:spPr bwMode="auto">
            <a:xfrm>
              <a:off x="9701909" y="5630862"/>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16" tIns="89616" rIns="33610" bIns="33610" rtlCol="0" anchor="b" anchorCtr="0"/>
            <a:lstStyle/>
            <a:p>
              <a:pPr marL="0" marR="0" lvl="0" indent="0" algn="ctr" defTabSz="91368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112" name="Rectangle 111"/>
            <p:cNvSpPr/>
            <p:nvPr/>
          </p:nvSpPr>
          <p:spPr>
            <a:xfrm>
              <a:off x="9871713" y="5631889"/>
              <a:ext cx="2233474" cy="530950"/>
            </a:xfrm>
            <a:prstGeom prst="rect">
              <a:avLst/>
            </a:prstGeom>
            <a:grpFill/>
            <a:ln w="9525" cap="flat" cmpd="sng" algn="ctr">
              <a:noFill/>
              <a:prstDash val="solid"/>
            </a:ln>
            <a:effectLst/>
          </p:spPr>
          <p:txBody>
            <a:bodyPr lIns="119299" tIns="59648" rIns="119299" bIns="59648" rtlCol="0" anchor="ctr"/>
            <a:lstStyle/>
            <a:p>
              <a:pPr marL="0" marR="0" lvl="0" indent="0" algn="l" defTabSz="896042"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gradFill>
                    <a:gsLst>
                      <a:gs pos="0">
                        <a:srgbClr val="404040"/>
                      </a:gs>
                      <a:gs pos="100000">
                        <a:srgbClr val="404040"/>
                      </a:gs>
                    </a:gsLst>
                    <a:lin ang="5400000" scaled="0"/>
                  </a:gradFill>
                  <a:effectLst/>
                  <a:uLnTx/>
                  <a:uFillTx/>
                  <a:latin typeface="Segoe UI Light"/>
                  <a:ea typeface="+mn-ea"/>
                  <a:cs typeface="+mn-cs"/>
                </a:rPr>
                <a:t>Bing </a:t>
              </a:r>
            </a:p>
            <a:p>
              <a:pPr marL="0" marR="0" lvl="0" indent="0" algn="l" defTabSz="896042"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gradFill>
                    <a:gsLst>
                      <a:gs pos="0">
                        <a:srgbClr val="404040"/>
                      </a:gs>
                      <a:gs pos="100000">
                        <a:srgbClr val="404040"/>
                      </a:gs>
                    </a:gsLst>
                    <a:lin ang="5400000" scaled="0"/>
                  </a:gradFill>
                  <a:effectLst/>
                  <a:uLnTx/>
                  <a:uFillTx/>
                  <a:latin typeface="Segoe UI Light"/>
                  <a:ea typeface="+mn-ea"/>
                  <a:cs typeface="+mn-cs"/>
                </a:rPr>
                <a:t>Video Search</a:t>
              </a:r>
            </a:p>
          </p:txBody>
        </p:sp>
      </p:grpSp>
      <p:grpSp>
        <p:nvGrpSpPr>
          <p:cNvPr id="115" name="Group 114"/>
          <p:cNvGrpSpPr/>
          <p:nvPr/>
        </p:nvGrpSpPr>
        <p:grpSpPr>
          <a:xfrm>
            <a:off x="9796039" y="2930267"/>
            <a:ext cx="2222631" cy="639985"/>
            <a:chOff x="9701907" y="3192460"/>
            <a:chExt cx="2459932" cy="533400"/>
          </a:xfrm>
          <a:solidFill>
            <a:schemeClr val="tx1"/>
          </a:solidFill>
        </p:grpSpPr>
        <p:sp>
          <p:nvSpPr>
            <p:cNvPr id="118" name="Flowchart: Process 8"/>
            <p:cNvSpPr/>
            <p:nvPr/>
          </p:nvSpPr>
          <p:spPr bwMode="auto">
            <a:xfrm>
              <a:off x="9701907" y="3192460"/>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16" tIns="89616" rIns="33610" bIns="33610" rtlCol="0" anchor="b" anchorCtr="0"/>
            <a:lstStyle/>
            <a:p>
              <a:pPr marL="0" marR="0" lvl="0" indent="0" algn="ctr" defTabSz="91368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117" name="Rectangle 116"/>
            <p:cNvSpPr/>
            <p:nvPr/>
          </p:nvSpPr>
          <p:spPr>
            <a:xfrm>
              <a:off x="9812188" y="3268663"/>
              <a:ext cx="2289447" cy="388654"/>
            </a:xfrm>
            <a:prstGeom prst="rect">
              <a:avLst/>
            </a:prstGeom>
            <a:grpFill/>
            <a:ln w="9525" cap="flat" cmpd="sng" algn="ctr">
              <a:noFill/>
              <a:prstDash val="solid"/>
            </a:ln>
            <a:effectLst/>
          </p:spPr>
          <p:txBody>
            <a:bodyPr lIns="119299" tIns="59648" rIns="119299" bIns="59648" rtlCol="0" anchor="ctr"/>
            <a:lstStyle/>
            <a:p>
              <a:pPr marL="0" marR="0" lvl="0" indent="0" algn="l" defTabSz="896042"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gradFill>
                    <a:gsLst>
                      <a:gs pos="0">
                        <a:srgbClr val="404040"/>
                      </a:gs>
                      <a:gs pos="100000">
                        <a:srgbClr val="404040"/>
                      </a:gs>
                    </a:gsLst>
                    <a:lin ang="5400000" scaled="0"/>
                  </a:gradFill>
                  <a:effectLst/>
                  <a:uLnTx/>
                  <a:uFillTx/>
                  <a:latin typeface="Segoe UI Light"/>
                  <a:ea typeface="+mn-ea"/>
                  <a:cs typeface="+mn-cs"/>
                </a:rPr>
                <a:t>Bing </a:t>
              </a:r>
            </a:p>
            <a:p>
              <a:pPr marL="0" marR="0" lvl="0" indent="0" algn="l" defTabSz="896042"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gradFill>
                    <a:gsLst>
                      <a:gs pos="0">
                        <a:srgbClr val="404040"/>
                      </a:gs>
                      <a:gs pos="100000">
                        <a:srgbClr val="404040"/>
                      </a:gs>
                    </a:gsLst>
                    <a:lin ang="5400000" scaled="0"/>
                  </a:gradFill>
                  <a:effectLst/>
                  <a:uLnTx/>
                  <a:uFillTx/>
                  <a:latin typeface="Segoe UI Light"/>
                  <a:ea typeface="+mn-ea"/>
                  <a:cs typeface="+mn-cs"/>
                </a:rPr>
                <a:t>Web Search</a:t>
              </a:r>
            </a:p>
          </p:txBody>
        </p:sp>
      </p:grpSp>
      <p:grpSp>
        <p:nvGrpSpPr>
          <p:cNvPr id="120" name="Group 119"/>
          <p:cNvGrpSpPr/>
          <p:nvPr/>
        </p:nvGrpSpPr>
        <p:grpSpPr>
          <a:xfrm>
            <a:off x="5079851" y="5839223"/>
            <a:ext cx="2215170" cy="639988"/>
            <a:chOff x="9701909" y="5021262"/>
            <a:chExt cx="2459932" cy="533400"/>
          </a:xfrm>
          <a:solidFill>
            <a:schemeClr val="tx1"/>
          </a:solidFill>
        </p:grpSpPr>
        <p:sp>
          <p:nvSpPr>
            <p:cNvPr id="123" name="Flowchart: Process 8"/>
            <p:cNvSpPr/>
            <p:nvPr/>
          </p:nvSpPr>
          <p:spPr bwMode="auto">
            <a:xfrm>
              <a:off x="9701909" y="5021262"/>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16" tIns="89616" rIns="33610" bIns="33610" rtlCol="0" anchor="b" anchorCtr="0"/>
            <a:lstStyle/>
            <a:p>
              <a:pPr marL="0" marR="0" lvl="0" indent="0" algn="ctr" defTabSz="91368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122" name="Rectangle 121"/>
            <p:cNvSpPr/>
            <p:nvPr/>
          </p:nvSpPr>
          <p:spPr>
            <a:xfrm>
              <a:off x="9797893" y="5125889"/>
              <a:ext cx="2315047" cy="324146"/>
            </a:xfrm>
            <a:prstGeom prst="rect">
              <a:avLst/>
            </a:prstGeom>
            <a:grpFill/>
            <a:ln w="9525" cap="flat" cmpd="sng" algn="ctr">
              <a:noFill/>
              <a:prstDash val="solid"/>
            </a:ln>
            <a:effectLst/>
          </p:spPr>
          <p:txBody>
            <a:bodyPr lIns="119299" tIns="59648" rIns="119299" bIns="59648" rtlCol="0" anchor="ctr"/>
            <a:lstStyle/>
            <a:p>
              <a:pPr marL="0" marR="0" lvl="0" indent="0" algn="l" defTabSz="896042"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gradFill>
                    <a:gsLst>
                      <a:gs pos="0">
                        <a:srgbClr val="404040"/>
                      </a:gs>
                      <a:gs pos="100000">
                        <a:srgbClr val="404040"/>
                      </a:gs>
                    </a:gsLst>
                    <a:lin ang="5400000" scaled="0"/>
                  </a:gradFill>
                  <a:effectLst/>
                  <a:uLnTx/>
                  <a:uFillTx/>
                  <a:latin typeface="Segoe UI Light"/>
                  <a:ea typeface="+mn-ea"/>
                  <a:cs typeface="+mn-cs"/>
                </a:rPr>
                <a:t>WebLM</a:t>
              </a:r>
            </a:p>
          </p:txBody>
        </p:sp>
      </p:grpSp>
      <p:grpSp>
        <p:nvGrpSpPr>
          <p:cNvPr id="125" name="Group 124"/>
          <p:cNvGrpSpPr/>
          <p:nvPr/>
        </p:nvGrpSpPr>
        <p:grpSpPr>
          <a:xfrm>
            <a:off x="5078310" y="5113265"/>
            <a:ext cx="2218249" cy="639985"/>
            <a:chOff x="9701907" y="3192460"/>
            <a:chExt cx="2459932" cy="533400"/>
          </a:xfrm>
          <a:solidFill>
            <a:schemeClr val="tx1"/>
          </a:solidFill>
        </p:grpSpPr>
        <p:sp>
          <p:nvSpPr>
            <p:cNvPr id="128" name="Flowchart: Process 8"/>
            <p:cNvSpPr/>
            <p:nvPr/>
          </p:nvSpPr>
          <p:spPr bwMode="auto">
            <a:xfrm>
              <a:off x="9701907" y="3192460"/>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16" tIns="89616" rIns="33610" bIns="33610" rtlCol="0" anchor="b" anchorCtr="0"/>
            <a:lstStyle/>
            <a:p>
              <a:pPr marL="0" marR="0" lvl="0" indent="0" algn="ctr" defTabSz="91368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127" name="Rectangle 126"/>
            <p:cNvSpPr/>
            <p:nvPr/>
          </p:nvSpPr>
          <p:spPr>
            <a:xfrm>
              <a:off x="9794370" y="3268662"/>
              <a:ext cx="2315046" cy="388654"/>
            </a:xfrm>
            <a:prstGeom prst="rect">
              <a:avLst/>
            </a:prstGeom>
            <a:grpFill/>
            <a:ln w="9525" cap="flat" cmpd="sng" algn="ctr">
              <a:noFill/>
              <a:prstDash val="solid"/>
            </a:ln>
            <a:effectLst/>
          </p:spPr>
          <p:txBody>
            <a:bodyPr lIns="119299" tIns="59648" rIns="119299" bIns="59648" rtlCol="0" anchor="ctr"/>
            <a:lstStyle/>
            <a:p>
              <a:pPr marL="0" marR="0" lvl="0" indent="0" algn="l" defTabSz="896042"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gradFill>
                    <a:gsLst>
                      <a:gs pos="0">
                        <a:srgbClr val="404040"/>
                      </a:gs>
                      <a:gs pos="100000">
                        <a:srgbClr val="404040"/>
                      </a:gs>
                    </a:gsLst>
                    <a:lin ang="5400000" scaled="0"/>
                  </a:gradFill>
                  <a:effectLst/>
                  <a:uLnTx/>
                  <a:uFillTx/>
                  <a:latin typeface="Segoe UI Light"/>
                  <a:ea typeface="+mn-ea"/>
                  <a:cs typeface="+mn-cs"/>
                </a:rPr>
                <a:t>Text Analytics</a:t>
              </a:r>
            </a:p>
          </p:txBody>
        </p:sp>
      </p:grpSp>
      <p:sp>
        <p:nvSpPr>
          <p:cNvPr id="132" name="Rectangle 131"/>
          <p:cNvSpPr/>
          <p:nvPr/>
        </p:nvSpPr>
        <p:spPr>
          <a:xfrm>
            <a:off x="7465103" y="5113265"/>
            <a:ext cx="2204565" cy="637048"/>
          </a:xfrm>
          <a:prstGeom prst="rect">
            <a:avLst/>
          </a:prstGeom>
          <a:solidFill>
            <a:schemeClr val="tx1"/>
          </a:solidFill>
          <a:ln w="9525" cap="flat" cmpd="sng" algn="ctr">
            <a:noFill/>
            <a:prstDash val="solid"/>
          </a:ln>
          <a:effectLst/>
        </p:spPr>
        <p:txBody>
          <a:bodyPr lIns="119299" tIns="59648" rIns="119299" bIns="59648" rtlCol="0" anchor="ctr"/>
          <a:lstStyle/>
          <a:p>
            <a:pPr marL="0" marR="0" lvl="0" indent="0" algn="l" defTabSz="896042"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gradFill>
                  <a:gsLst>
                    <a:gs pos="0">
                      <a:srgbClr val="404040"/>
                    </a:gs>
                    <a:gs pos="100000">
                      <a:srgbClr val="404040"/>
                    </a:gs>
                  </a:gsLst>
                  <a:lin ang="5400000" scaled="0"/>
                </a:gradFill>
                <a:effectLst/>
                <a:uLnTx/>
                <a:uFillTx/>
                <a:latin typeface="Segoe UI Light"/>
                <a:ea typeface="+mn-ea"/>
                <a:cs typeface="+mn-cs"/>
              </a:rPr>
              <a:t>  Recommendations</a:t>
            </a:r>
          </a:p>
        </p:txBody>
      </p:sp>
      <p:grpSp>
        <p:nvGrpSpPr>
          <p:cNvPr id="135" name="Group 134"/>
          <p:cNvGrpSpPr/>
          <p:nvPr/>
        </p:nvGrpSpPr>
        <p:grpSpPr>
          <a:xfrm>
            <a:off x="9832718" y="5839223"/>
            <a:ext cx="2210974" cy="639988"/>
            <a:chOff x="9701909" y="5021262"/>
            <a:chExt cx="2459932" cy="533400"/>
          </a:xfrm>
          <a:solidFill>
            <a:schemeClr val="tx1"/>
          </a:solidFill>
        </p:grpSpPr>
        <p:sp>
          <p:nvSpPr>
            <p:cNvPr id="138" name="Flowchart: Process 8"/>
            <p:cNvSpPr/>
            <p:nvPr/>
          </p:nvSpPr>
          <p:spPr bwMode="auto">
            <a:xfrm>
              <a:off x="9701909" y="5021262"/>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16" tIns="89616" rIns="33610" bIns="33610" rtlCol="0" anchor="b" anchorCtr="0"/>
            <a:lstStyle/>
            <a:p>
              <a:pPr marL="0" marR="0" lvl="0" indent="0" algn="ctr" defTabSz="91368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137" name="Rectangle 136"/>
            <p:cNvSpPr/>
            <p:nvPr/>
          </p:nvSpPr>
          <p:spPr>
            <a:xfrm>
              <a:off x="9863993" y="5125889"/>
              <a:ext cx="2149178" cy="324146"/>
            </a:xfrm>
            <a:prstGeom prst="rect">
              <a:avLst/>
            </a:prstGeom>
            <a:grpFill/>
            <a:ln w="9525" cap="flat" cmpd="sng" algn="ctr">
              <a:noFill/>
              <a:prstDash val="solid"/>
            </a:ln>
            <a:effectLst/>
          </p:spPr>
          <p:txBody>
            <a:bodyPr lIns="119299" tIns="59648" rIns="119299" bIns="59648" rtlCol="0" anchor="ctr"/>
            <a:lstStyle/>
            <a:p>
              <a:pPr marL="0" marR="0" lvl="0" indent="0" algn="l" defTabSz="896042"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gradFill>
                    <a:gsLst>
                      <a:gs pos="0">
                        <a:srgbClr val="404040"/>
                      </a:gs>
                      <a:gs pos="100000">
                        <a:srgbClr val="404040"/>
                      </a:gs>
                    </a:gsLst>
                    <a:lin ang="5400000" scaled="0"/>
                  </a:gradFill>
                  <a:effectLst/>
                  <a:uLnTx/>
                  <a:uFillTx/>
                  <a:latin typeface="Segoe UI Light"/>
                  <a:ea typeface="+mn-ea"/>
                  <a:cs typeface="+mn-cs"/>
                </a:rPr>
                <a:t>Bing </a:t>
              </a:r>
            </a:p>
            <a:p>
              <a:pPr marL="0" marR="0" lvl="0" indent="0" algn="l" defTabSz="896042"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gradFill>
                    <a:gsLst>
                      <a:gs pos="0">
                        <a:srgbClr val="404040"/>
                      </a:gs>
                      <a:gs pos="100000">
                        <a:srgbClr val="404040"/>
                      </a:gs>
                    </a:gsLst>
                    <a:lin ang="5400000" scaled="0"/>
                  </a:gradFill>
                  <a:effectLst/>
                  <a:uLnTx/>
                  <a:uFillTx/>
                  <a:latin typeface="Segoe UI Light"/>
                  <a:ea typeface="+mn-ea"/>
                  <a:cs typeface="+mn-cs"/>
                </a:rPr>
                <a:t>Autosuggest</a:t>
              </a:r>
            </a:p>
          </p:txBody>
        </p:sp>
      </p:grpSp>
      <p:grpSp>
        <p:nvGrpSpPr>
          <p:cNvPr id="140" name="Group 139"/>
          <p:cNvGrpSpPr/>
          <p:nvPr/>
        </p:nvGrpSpPr>
        <p:grpSpPr>
          <a:xfrm>
            <a:off x="9823245" y="5113265"/>
            <a:ext cx="2214059" cy="639985"/>
            <a:chOff x="9701907" y="3192460"/>
            <a:chExt cx="2459932" cy="533400"/>
          </a:xfrm>
          <a:solidFill>
            <a:schemeClr val="tx1"/>
          </a:solidFill>
        </p:grpSpPr>
        <p:sp>
          <p:nvSpPr>
            <p:cNvPr id="143" name="Flowchart: Process 8"/>
            <p:cNvSpPr/>
            <p:nvPr/>
          </p:nvSpPr>
          <p:spPr bwMode="auto">
            <a:xfrm>
              <a:off x="9701907" y="3192460"/>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16" tIns="89616" rIns="33610" bIns="33610" rtlCol="0" anchor="b" anchorCtr="0"/>
            <a:lstStyle/>
            <a:p>
              <a:pPr marL="0" marR="0" lvl="0" indent="0" algn="ctr" defTabSz="91368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142" name="Rectangle 141"/>
            <p:cNvSpPr/>
            <p:nvPr/>
          </p:nvSpPr>
          <p:spPr>
            <a:xfrm>
              <a:off x="9860469" y="3268662"/>
              <a:ext cx="2234825" cy="388654"/>
            </a:xfrm>
            <a:prstGeom prst="rect">
              <a:avLst/>
            </a:prstGeom>
            <a:grpFill/>
            <a:ln w="9525" cap="flat" cmpd="sng" algn="ctr">
              <a:noFill/>
              <a:prstDash val="solid"/>
            </a:ln>
            <a:effectLst/>
          </p:spPr>
          <p:txBody>
            <a:bodyPr lIns="119299" tIns="59648" rIns="119299" bIns="59648" rtlCol="0" anchor="ctr"/>
            <a:lstStyle/>
            <a:p>
              <a:pPr marL="0" marR="0" lvl="0" indent="0" algn="l" defTabSz="896042"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gradFill>
                    <a:gsLst>
                      <a:gs pos="0">
                        <a:srgbClr val="404040"/>
                      </a:gs>
                      <a:gs pos="100000">
                        <a:srgbClr val="404040"/>
                      </a:gs>
                    </a:gsLst>
                    <a:lin ang="5400000" scaled="0"/>
                  </a:gradFill>
                  <a:effectLst/>
                  <a:uLnTx/>
                  <a:uFillTx/>
                  <a:latin typeface="Segoe UI Light"/>
                  <a:ea typeface="+mn-ea"/>
                  <a:cs typeface="+mn-cs"/>
                </a:rPr>
                <a:t>Bing </a:t>
              </a:r>
            </a:p>
            <a:p>
              <a:pPr marL="0" marR="0" lvl="0" indent="0" algn="l" defTabSz="896042"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gradFill>
                    <a:gsLst>
                      <a:gs pos="0">
                        <a:srgbClr val="404040"/>
                      </a:gs>
                      <a:gs pos="100000">
                        <a:srgbClr val="404040"/>
                      </a:gs>
                    </a:gsLst>
                    <a:lin ang="5400000" scaled="0"/>
                  </a:gradFill>
                  <a:effectLst/>
                  <a:uLnTx/>
                  <a:uFillTx/>
                  <a:latin typeface="Segoe UI Light"/>
                  <a:ea typeface="+mn-ea"/>
                  <a:cs typeface="+mn-cs"/>
                </a:rPr>
                <a:t>News Search</a:t>
              </a:r>
            </a:p>
          </p:txBody>
        </p:sp>
      </p:grpSp>
      <p:sp>
        <p:nvSpPr>
          <p:cNvPr id="99" name="Rectangle 98"/>
          <p:cNvSpPr/>
          <p:nvPr/>
        </p:nvSpPr>
        <p:spPr>
          <a:xfrm>
            <a:off x="274639" y="2044305"/>
            <a:ext cx="11889564" cy="4653357"/>
          </a:xfrm>
          <a:prstGeom prst="rect">
            <a:avLst/>
          </a:prstGeom>
          <a:noFill/>
          <a:ln>
            <a:solidFill>
              <a:schemeClr val="tx2">
                <a:lumMod val="40000"/>
                <a:lumOff val="6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lIns="121725" tIns="60862" rIns="121725" bIns="60862"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104" name="Group 103"/>
          <p:cNvGrpSpPr/>
          <p:nvPr/>
        </p:nvGrpSpPr>
        <p:grpSpPr>
          <a:xfrm>
            <a:off x="2740610" y="5113265"/>
            <a:ext cx="2229241" cy="629544"/>
            <a:chOff x="9701909" y="5021262"/>
            <a:chExt cx="2459932" cy="533400"/>
          </a:xfrm>
          <a:solidFill>
            <a:schemeClr val="tx1"/>
          </a:solidFill>
        </p:grpSpPr>
        <p:sp>
          <p:nvSpPr>
            <p:cNvPr id="106" name="Flowchart: Process 8"/>
            <p:cNvSpPr/>
            <p:nvPr/>
          </p:nvSpPr>
          <p:spPr bwMode="auto">
            <a:xfrm>
              <a:off x="9701909" y="5021262"/>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16" tIns="89616" rIns="33610" bIns="33610" rtlCol="0" anchor="b" anchorCtr="0"/>
            <a:lstStyle/>
            <a:p>
              <a:pPr marL="0" marR="0" lvl="0" indent="0" algn="ctr" defTabSz="91368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109" name="Rectangle 108"/>
            <p:cNvSpPr/>
            <p:nvPr/>
          </p:nvSpPr>
          <p:spPr>
            <a:xfrm>
              <a:off x="9797893" y="5125889"/>
              <a:ext cx="2315047" cy="324146"/>
            </a:xfrm>
            <a:prstGeom prst="rect">
              <a:avLst/>
            </a:prstGeom>
            <a:grpFill/>
            <a:ln w="9525" cap="flat" cmpd="sng" algn="ctr">
              <a:noFill/>
              <a:prstDash val="solid"/>
            </a:ln>
            <a:effectLst/>
          </p:spPr>
          <p:txBody>
            <a:bodyPr lIns="119299" tIns="59648" rIns="119299" bIns="59648" rtlCol="0" anchor="ctr"/>
            <a:lstStyle/>
            <a:p>
              <a:pPr marL="0" marR="0" lvl="0" indent="0" algn="l" defTabSz="896042"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gradFill>
                    <a:gsLst>
                      <a:gs pos="0">
                        <a:srgbClr val="404040"/>
                      </a:gs>
                      <a:gs pos="100000">
                        <a:srgbClr val="404040"/>
                      </a:gs>
                    </a:gsLst>
                    <a:lin ang="5400000" scaled="0"/>
                  </a:gradFill>
                  <a:effectLst/>
                  <a:uLnTx/>
                  <a:uFillTx/>
                  <a:latin typeface="Segoe UI Light"/>
                  <a:ea typeface="+mn-ea"/>
                  <a:cs typeface="+mn-cs"/>
                </a:rPr>
                <a:t>Translator</a:t>
              </a:r>
            </a:p>
          </p:txBody>
        </p:sp>
      </p:grpSp>
      <p:sp>
        <p:nvSpPr>
          <p:cNvPr id="101" name="Freeform 22"/>
          <p:cNvSpPr>
            <a:spLocks noChangeAspect="1"/>
          </p:cNvSpPr>
          <p:nvPr/>
        </p:nvSpPr>
        <p:spPr bwMode="auto">
          <a:xfrm>
            <a:off x="550897" y="2408221"/>
            <a:ext cx="365760" cy="242032"/>
          </a:xfrm>
          <a:custGeom>
            <a:avLst/>
            <a:gdLst>
              <a:gd name="T0" fmla="*/ 4942 w 7181"/>
              <a:gd name="T1" fmla="*/ 414 h 4752"/>
              <a:gd name="T2" fmla="*/ 3024 w 7181"/>
              <a:gd name="T3" fmla="*/ 152 h 4752"/>
              <a:gd name="T4" fmla="*/ 0 w 7181"/>
              <a:gd name="T5" fmla="*/ 2353 h 4752"/>
              <a:gd name="T6" fmla="*/ 2201 w 7181"/>
              <a:gd name="T7" fmla="*/ 4282 h 4752"/>
              <a:gd name="T8" fmla="*/ 4848 w 7181"/>
              <a:gd name="T9" fmla="*/ 4351 h 4752"/>
              <a:gd name="T10" fmla="*/ 7102 w 7181"/>
              <a:gd name="T11" fmla="*/ 2474 h 4752"/>
              <a:gd name="T12" fmla="*/ 7181 w 7181"/>
              <a:gd name="T13" fmla="*/ 2350 h 4752"/>
              <a:gd name="T14" fmla="*/ 4942 w 7181"/>
              <a:gd name="T15" fmla="*/ 414 h 47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81" h="4752">
                <a:moveTo>
                  <a:pt x="4942" y="414"/>
                </a:moveTo>
                <a:cubicBezTo>
                  <a:pt x="4333" y="124"/>
                  <a:pt x="3691" y="0"/>
                  <a:pt x="3024" y="152"/>
                </a:cubicBezTo>
                <a:cubicBezTo>
                  <a:pt x="1710" y="456"/>
                  <a:pt x="812" y="1327"/>
                  <a:pt x="0" y="2353"/>
                </a:cubicBezTo>
                <a:cubicBezTo>
                  <a:pt x="608" y="3169"/>
                  <a:pt x="1306" y="3839"/>
                  <a:pt x="2201" y="4282"/>
                </a:cubicBezTo>
                <a:cubicBezTo>
                  <a:pt x="3069" y="4710"/>
                  <a:pt x="3957" y="4752"/>
                  <a:pt x="4848" y="4351"/>
                </a:cubicBezTo>
                <a:cubicBezTo>
                  <a:pt x="5771" y="3932"/>
                  <a:pt x="6490" y="3269"/>
                  <a:pt x="7102" y="2474"/>
                </a:cubicBezTo>
                <a:cubicBezTo>
                  <a:pt x="7129" y="2436"/>
                  <a:pt x="7154" y="2395"/>
                  <a:pt x="7181" y="2350"/>
                </a:cubicBezTo>
                <a:cubicBezTo>
                  <a:pt x="6570" y="1534"/>
                  <a:pt x="5861" y="853"/>
                  <a:pt x="4942" y="41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11" name="Freeform 18"/>
          <p:cNvSpPr>
            <a:spLocks noChangeAspect="1"/>
          </p:cNvSpPr>
          <p:nvPr/>
        </p:nvSpPr>
        <p:spPr bwMode="auto">
          <a:xfrm>
            <a:off x="2841120" y="2369831"/>
            <a:ext cx="363944" cy="318812"/>
          </a:xfrm>
          <a:custGeom>
            <a:avLst/>
            <a:gdLst>
              <a:gd name="T0" fmla="*/ 115 w 6349"/>
              <a:gd name="T1" fmla="*/ 1548 h 5575"/>
              <a:gd name="T2" fmla="*/ 1324 w 6349"/>
              <a:gd name="T3" fmla="*/ 225 h 5575"/>
              <a:gd name="T4" fmla="*/ 5039 w 6349"/>
              <a:gd name="T5" fmla="*/ 228 h 5575"/>
              <a:gd name="T6" fmla="*/ 6221 w 6349"/>
              <a:gd name="T7" fmla="*/ 1445 h 5575"/>
              <a:gd name="T8" fmla="*/ 6235 w 6349"/>
              <a:gd name="T9" fmla="*/ 3263 h 5575"/>
              <a:gd name="T10" fmla="*/ 4974 w 6349"/>
              <a:gd name="T11" fmla="*/ 4531 h 5575"/>
              <a:gd name="T12" fmla="*/ 3498 w 6349"/>
              <a:gd name="T13" fmla="*/ 4683 h 5575"/>
              <a:gd name="T14" fmla="*/ 3298 w 6349"/>
              <a:gd name="T15" fmla="*/ 4745 h 5575"/>
              <a:gd name="T16" fmla="*/ 2475 w 6349"/>
              <a:gd name="T17" fmla="*/ 5284 h 5575"/>
              <a:gd name="T18" fmla="*/ 1414 w 6349"/>
              <a:gd name="T19" fmla="*/ 5561 h 5575"/>
              <a:gd name="T20" fmla="*/ 1936 w 6349"/>
              <a:gd name="T21" fmla="*/ 4628 h 5575"/>
              <a:gd name="T22" fmla="*/ 1490 w 6349"/>
              <a:gd name="T23" fmla="*/ 4559 h 5575"/>
              <a:gd name="T24" fmla="*/ 118 w 6349"/>
              <a:gd name="T25" fmla="*/ 3270 h 5575"/>
              <a:gd name="T26" fmla="*/ 115 w 6349"/>
              <a:gd name="T27" fmla="*/ 1548 h 5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9" h="5575">
                <a:moveTo>
                  <a:pt x="115" y="1548"/>
                </a:moveTo>
                <a:cubicBezTo>
                  <a:pt x="211" y="957"/>
                  <a:pt x="595" y="353"/>
                  <a:pt x="1324" y="225"/>
                </a:cubicBezTo>
                <a:cubicBezTo>
                  <a:pt x="2565" y="10"/>
                  <a:pt x="3802" y="0"/>
                  <a:pt x="5039" y="228"/>
                </a:cubicBezTo>
                <a:cubicBezTo>
                  <a:pt x="5713" y="353"/>
                  <a:pt x="6086" y="792"/>
                  <a:pt x="6221" y="1445"/>
                </a:cubicBezTo>
                <a:cubicBezTo>
                  <a:pt x="6349" y="2050"/>
                  <a:pt x="6339" y="2658"/>
                  <a:pt x="6235" y="3263"/>
                </a:cubicBezTo>
                <a:cubicBezTo>
                  <a:pt x="6135" y="3847"/>
                  <a:pt x="5724" y="4438"/>
                  <a:pt x="4974" y="4531"/>
                </a:cubicBezTo>
                <a:cubicBezTo>
                  <a:pt x="4483" y="4590"/>
                  <a:pt x="3989" y="4631"/>
                  <a:pt x="3498" y="4683"/>
                </a:cubicBezTo>
                <a:cubicBezTo>
                  <a:pt x="3429" y="4690"/>
                  <a:pt x="3356" y="4707"/>
                  <a:pt x="3298" y="4745"/>
                </a:cubicBezTo>
                <a:cubicBezTo>
                  <a:pt x="3021" y="4921"/>
                  <a:pt x="2869" y="5125"/>
                  <a:pt x="2475" y="5284"/>
                </a:cubicBezTo>
                <a:cubicBezTo>
                  <a:pt x="2154" y="5423"/>
                  <a:pt x="1466" y="5575"/>
                  <a:pt x="1414" y="5561"/>
                </a:cubicBezTo>
                <a:cubicBezTo>
                  <a:pt x="1390" y="5523"/>
                  <a:pt x="1894" y="4963"/>
                  <a:pt x="1936" y="4628"/>
                </a:cubicBezTo>
                <a:cubicBezTo>
                  <a:pt x="1760" y="4600"/>
                  <a:pt x="1625" y="4579"/>
                  <a:pt x="1490" y="4559"/>
                </a:cubicBezTo>
                <a:cubicBezTo>
                  <a:pt x="719" y="4441"/>
                  <a:pt x="277" y="4013"/>
                  <a:pt x="118" y="3270"/>
                </a:cubicBezTo>
                <a:cubicBezTo>
                  <a:pt x="0" y="2665"/>
                  <a:pt x="35" y="2056"/>
                  <a:pt x="115" y="154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14" name="Freeform 9"/>
          <p:cNvSpPr>
            <a:spLocks noChangeAspect="1"/>
          </p:cNvSpPr>
          <p:nvPr/>
        </p:nvSpPr>
        <p:spPr bwMode="auto">
          <a:xfrm>
            <a:off x="5228454" y="2380516"/>
            <a:ext cx="236539" cy="297442"/>
          </a:xfrm>
          <a:custGeom>
            <a:avLst/>
            <a:gdLst>
              <a:gd name="T0" fmla="*/ 5153 w 5153"/>
              <a:gd name="T1" fmla="*/ 2353 h 6483"/>
              <a:gd name="T2" fmla="*/ 2799 w 5153"/>
              <a:gd name="T3" fmla="*/ 0 h 6483"/>
              <a:gd name="T4" fmla="*/ 445 w 5153"/>
              <a:gd name="T5" fmla="*/ 2353 h 6483"/>
              <a:gd name="T6" fmla="*/ 1852 w 5153"/>
              <a:gd name="T7" fmla="*/ 4507 h 6483"/>
              <a:gd name="T8" fmla="*/ 1399 w 5153"/>
              <a:gd name="T9" fmla="*/ 4932 h 6483"/>
              <a:gd name="T10" fmla="*/ 214 w 5153"/>
              <a:gd name="T11" fmla="*/ 5457 h 6483"/>
              <a:gd name="T12" fmla="*/ 41 w 5153"/>
              <a:gd name="T13" fmla="*/ 5578 h 6483"/>
              <a:gd name="T14" fmla="*/ 0 w 5153"/>
              <a:gd name="T15" fmla="*/ 6245 h 6483"/>
              <a:gd name="T16" fmla="*/ 96 w 5153"/>
              <a:gd name="T17" fmla="*/ 6276 h 6483"/>
              <a:gd name="T18" fmla="*/ 3145 w 5153"/>
              <a:gd name="T19" fmla="*/ 5637 h 6483"/>
              <a:gd name="T20" fmla="*/ 5153 w 5153"/>
              <a:gd name="T21" fmla="*/ 2353 h 6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153" h="6483">
                <a:moveTo>
                  <a:pt x="5153" y="2353"/>
                </a:moveTo>
                <a:cubicBezTo>
                  <a:pt x="5153" y="1054"/>
                  <a:pt x="4098" y="0"/>
                  <a:pt x="2799" y="0"/>
                </a:cubicBezTo>
                <a:cubicBezTo>
                  <a:pt x="1500" y="0"/>
                  <a:pt x="445" y="1054"/>
                  <a:pt x="445" y="2353"/>
                </a:cubicBezTo>
                <a:cubicBezTo>
                  <a:pt x="445" y="3314"/>
                  <a:pt x="1023" y="4144"/>
                  <a:pt x="1852" y="4507"/>
                </a:cubicBezTo>
                <a:cubicBezTo>
                  <a:pt x="1776" y="4634"/>
                  <a:pt x="1586" y="4814"/>
                  <a:pt x="1399" y="4932"/>
                </a:cubicBezTo>
                <a:cubicBezTo>
                  <a:pt x="1036" y="5167"/>
                  <a:pt x="611" y="5284"/>
                  <a:pt x="214" y="5457"/>
                </a:cubicBezTo>
                <a:cubicBezTo>
                  <a:pt x="148" y="5485"/>
                  <a:pt x="45" y="5530"/>
                  <a:pt x="41" y="5578"/>
                </a:cubicBezTo>
                <a:cubicBezTo>
                  <a:pt x="13" y="5799"/>
                  <a:pt x="10" y="6027"/>
                  <a:pt x="0" y="6245"/>
                </a:cubicBezTo>
                <a:cubicBezTo>
                  <a:pt x="48" y="6262"/>
                  <a:pt x="72" y="6273"/>
                  <a:pt x="96" y="6276"/>
                </a:cubicBezTo>
                <a:cubicBezTo>
                  <a:pt x="1213" y="6483"/>
                  <a:pt x="2229" y="6221"/>
                  <a:pt x="3145" y="5637"/>
                </a:cubicBezTo>
                <a:cubicBezTo>
                  <a:pt x="4095" y="5032"/>
                  <a:pt x="5153" y="4043"/>
                  <a:pt x="5153" y="23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16" name="Freeform 5"/>
          <p:cNvSpPr>
            <a:spLocks/>
          </p:cNvSpPr>
          <p:nvPr/>
        </p:nvSpPr>
        <p:spPr bwMode="auto">
          <a:xfrm>
            <a:off x="7524834" y="2364244"/>
            <a:ext cx="388867" cy="329986"/>
          </a:xfrm>
          <a:custGeom>
            <a:avLst/>
            <a:gdLst>
              <a:gd name="T0" fmla="*/ 5986 w 5986"/>
              <a:gd name="T1" fmla="*/ 3594 h 5985"/>
              <a:gd name="T2" fmla="*/ 5986 w 5986"/>
              <a:gd name="T3" fmla="*/ 2395 h 5985"/>
              <a:gd name="T4" fmla="*/ 5402 w 5986"/>
              <a:gd name="T5" fmla="*/ 2395 h 5985"/>
              <a:gd name="T6" fmla="*/ 5122 w 5986"/>
              <a:gd name="T7" fmla="*/ 1717 h 5985"/>
              <a:gd name="T8" fmla="*/ 5533 w 5986"/>
              <a:gd name="T9" fmla="*/ 1330 h 5985"/>
              <a:gd name="T10" fmla="*/ 4666 w 5986"/>
              <a:gd name="T11" fmla="*/ 463 h 5985"/>
              <a:gd name="T12" fmla="*/ 4282 w 5986"/>
              <a:gd name="T13" fmla="*/ 870 h 5985"/>
              <a:gd name="T14" fmla="*/ 3591 w 5986"/>
              <a:gd name="T15" fmla="*/ 584 h 5985"/>
              <a:gd name="T16" fmla="*/ 3591 w 5986"/>
              <a:gd name="T17" fmla="*/ 0 h 5985"/>
              <a:gd name="T18" fmla="*/ 2392 w 5986"/>
              <a:gd name="T19" fmla="*/ 0 h 5985"/>
              <a:gd name="T20" fmla="*/ 2392 w 5986"/>
              <a:gd name="T21" fmla="*/ 587 h 5985"/>
              <a:gd name="T22" fmla="*/ 1711 w 5986"/>
              <a:gd name="T23" fmla="*/ 870 h 5985"/>
              <a:gd name="T24" fmla="*/ 1327 w 5986"/>
              <a:gd name="T25" fmla="*/ 456 h 5985"/>
              <a:gd name="T26" fmla="*/ 453 w 5986"/>
              <a:gd name="T27" fmla="*/ 1323 h 5985"/>
              <a:gd name="T28" fmla="*/ 868 w 5986"/>
              <a:gd name="T29" fmla="*/ 1710 h 5985"/>
              <a:gd name="T30" fmla="*/ 584 w 5986"/>
              <a:gd name="T31" fmla="*/ 2395 h 5985"/>
              <a:gd name="T32" fmla="*/ 0 w 5986"/>
              <a:gd name="T33" fmla="*/ 2395 h 5985"/>
              <a:gd name="T34" fmla="*/ 0 w 5986"/>
              <a:gd name="T35" fmla="*/ 3587 h 5985"/>
              <a:gd name="T36" fmla="*/ 584 w 5986"/>
              <a:gd name="T37" fmla="*/ 3587 h 5985"/>
              <a:gd name="T38" fmla="*/ 871 w 5986"/>
              <a:gd name="T39" fmla="*/ 4275 h 5985"/>
              <a:gd name="T40" fmla="*/ 442 w 5986"/>
              <a:gd name="T41" fmla="*/ 4651 h 5985"/>
              <a:gd name="T42" fmla="*/ 1320 w 5986"/>
              <a:gd name="T43" fmla="*/ 5529 h 5985"/>
              <a:gd name="T44" fmla="*/ 1711 w 5986"/>
              <a:gd name="T45" fmla="*/ 5114 h 5985"/>
              <a:gd name="T46" fmla="*/ 2392 w 5986"/>
              <a:gd name="T47" fmla="*/ 5398 h 5985"/>
              <a:gd name="T48" fmla="*/ 2392 w 5986"/>
              <a:gd name="T49" fmla="*/ 5985 h 5985"/>
              <a:gd name="T50" fmla="*/ 3584 w 5986"/>
              <a:gd name="T51" fmla="*/ 5985 h 5985"/>
              <a:gd name="T52" fmla="*/ 3584 w 5986"/>
              <a:gd name="T53" fmla="*/ 5401 h 5985"/>
              <a:gd name="T54" fmla="*/ 4279 w 5986"/>
              <a:gd name="T55" fmla="*/ 5114 h 5985"/>
              <a:gd name="T56" fmla="*/ 4662 w 5986"/>
              <a:gd name="T57" fmla="*/ 5533 h 5985"/>
              <a:gd name="T58" fmla="*/ 5523 w 5986"/>
              <a:gd name="T59" fmla="*/ 4669 h 5985"/>
              <a:gd name="T60" fmla="*/ 5112 w 5986"/>
              <a:gd name="T61" fmla="*/ 4285 h 5985"/>
              <a:gd name="T62" fmla="*/ 5402 w 5986"/>
              <a:gd name="T63" fmla="*/ 3594 h 5985"/>
              <a:gd name="T64" fmla="*/ 5986 w 5986"/>
              <a:gd name="T65" fmla="*/ 3594 h 5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986" h="5985">
                <a:moveTo>
                  <a:pt x="5986" y="3594"/>
                </a:moveTo>
                <a:cubicBezTo>
                  <a:pt x="5986" y="3193"/>
                  <a:pt x="5986" y="2795"/>
                  <a:pt x="5986" y="2395"/>
                </a:cubicBezTo>
                <a:cubicBezTo>
                  <a:pt x="5789" y="2395"/>
                  <a:pt x="5595" y="2395"/>
                  <a:pt x="5402" y="2395"/>
                </a:cubicBezTo>
                <a:cubicBezTo>
                  <a:pt x="5343" y="2153"/>
                  <a:pt x="5246" y="1925"/>
                  <a:pt x="5122" y="1717"/>
                </a:cubicBezTo>
                <a:cubicBezTo>
                  <a:pt x="5257" y="1589"/>
                  <a:pt x="5395" y="1458"/>
                  <a:pt x="5533" y="1330"/>
                </a:cubicBezTo>
                <a:cubicBezTo>
                  <a:pt x="5232" y="1029"/>
                  <a:pt x="4956" y="753"/>
                  <a:pt x="4666" y="463"/>
                </a:cubicBezTo>
                <a:cubicBezTo>
                  <a:pt x="4541" y="597"/>
                  <a:pt x="4410" y="736"/>
                  <a:pt x="4282" y="870"/>
                </a:cubicBezTo>
                <a:cubicBezTo>
                  <a:pt x="4071" y="743"/>
                  <a:pt x="3836" y="642"/>
                  <a:pt x="3591" y="584"/>
                </a:cubicBezTo>
                <a:cubicBezTo>
                  <a:pt x="3591" y="397"/>
                  <a:pt x="3591" y="197"/>
                  <a:pt x="3591" y="0"/>
                </a:cubicBezTo>
                <a:cubicBezTo>
                  <a:pt x="3190" y="0"/>
                  <a:pt x="2793" y="0"/>
                  <a:pt x="2392" y="0"/>
                </a:cubicBezTo>
                <a:cubicBezTo>
                  <a:pt x="2392" y="197"/>
                  <a:pt x="2392" y="390"/>
                  <a:pt x="2392" y="587"/>
                </a:cubicBezTo>
                <a:cubicBezTo>
                  <a:pt x="2150" y="649"/>
                  <a:pt x="1918" y="746"/>
                  <a:pt x="1711" y="870"/>
                </a:cubicBezTo>
                <a:cubicBezTo>
                  <a:pt x="1586" y="736"/>
                  <a:pt x="1452" y="594"/>
                  <a:pt x="1327" y="456"/>
                </a:cubicBezTo>
                <a:cubicBezTo>
                  <a:pt x="1023" y="753"/>
                  <a:pt x="747" y="1029"/>
                  <a:pt x="453" y="1323"/>
                </a:cubicBezTo>
                <a:cubicBezTo>
                  <a:pt x="588" y="1451"/>
                  <a:pt x="729" y="1582"/>
                  <a:pt x="868" y="1710"/>
                </a:cubicBezTo>
                <a:cubicBezTo>
                  <a:pt x="740" y="1921"/>
                  <a:pt x="646" y="2149"/>
                  <a:pt x="584" y="2395"/>
                </a:cubicBezTo>
                <a:cubicBezTo>
                  <a:pt x="398" y="2395"/>
                  <a:pt x="201" y="2395"/>
                  <a:pt x="0" y="2395"/>
                </a:cubicBezTo>
                <a:cubicBezTo>
                  <a:pt x="0" y="2795"/>
                  <a:pt x="0" y="3183"/>
                  <a:pt x="0" y="3587"/>
                </a:cubicBezTo>
                <a:cubicBezTo>
                  <a:pt x="197" y="3587"/>
                  <a:pt x="391" y="3587"/>
                  <a:pt x="584" y="3587"/>
                </a:cubicBezTo>
                <a:cubicBezTo>
                  <a:pt x="646" y="3832"/>
                  <a:pt x="743" y="4064"/>
                  <a:pt x="871" y="4275"/>
                </a:cubicBezTo>
                <a:cubicBezTo>
                  <a:pt x="733" y="4396"/>
                  <a:pt x="584" y="4527"/>
                  <a:pt x="442" y="4651"/>
                </a:cubicBezTo>
                <a:cubicBezTo>
                  <a:pt x="750" y="4959"/>
                  <a:pt x="1027" y="5235"/>
                  <a:pt x="1320" y="5529"/>
                </a:cubicBezTo>
                <a:cubicBezTo>
                  <a:pt x="1448" y="5391"/>
                  <a:pt x="1583" y="5249"/>
                  <a:pt x="1711" y="5114"/>
                </a:cubicBezTo>
                <a:cubicBezTo>
                  <a:pt x="1918" y="5242"/>
                  <a:pt x="2150" y="5336"/>
                  <a:pt x="2392" y="5398"/>
                </a:cubicBezTo>
                <a:cubicBezTo>
                  <a:pt x="2392" y="5584"/>
                  <a:pt x="2392" y="5781"/>
                  <a:pt x="2392" y="5985"/>
                </a:cubicBezTo>
                <a:cubicBezTo>
                  <a:pt x="2793" y="5985"/>
                  <a:pt x="3180" y="5985"/>
                  <a:pt x="3584" y="5985"/>
                </a:cubicBezTo>
                <a:cubicBezTo>
                  <a:pt x="3584" y="5788"/>
                  <a:pt x="3584" y="5591"/>
                  <a:pt x="3584" y="5401"/>
                </a:cubicBezTo>
                <a:cubicBezTo>
                  <a:pt x="3833" y="5343"/>
                  <a:pt x="4064" y="5242"/>
                  <a:pt x="4279" y="5114"/>
                </a:cubicBezTo>
                <a:cubicBezTo>
                  <a:pt x="4403" y="5253"/>
                  <a:pt x="4534" y="5394"/>
                  <a:pt x="4662" y="5533"/>
                </a:cubicBezTo>
                <a:cubicBezTo>
                  <a:pt x="4956" y="5239"/>
                  <a:pt x="5232" y="4959"/>
                  <a:pt x="5523" y="4669"/>
                </a:cubicBezTo>
                <a:cubicBezTo>
                  <a:pt x="5388" y="4541"/>
                  <a:pt x="5246" y="4409"/>
                  <a:pt x="5112" y="4285"/>
                </a:cubicBezTo>
                <a:cubicBezTo>
                  <a:pt x="5239" y="4074"/>
                  <a:pt x="5340" y="3843"/>
                  <a:pt x="5402" y="3594"/>
                </a:cubicBezTo>
                <a:cubicBezTo>
                  <a:pt x="5588" y="3594"/>
                  <a:pt x="5785" y="3594"/>
                  <a:pt x="5986" y="35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grpSp>
        <p:nvGrpSpPr>
          <p:cNvPr id="119" name="Group 118"/>
          <p:cNvGrpSpPr/>
          <p:nvPr/>
        </p:nvGrpSpPr>
        <p:grpSpPr>
          <a:xfrm>
            <a:off x="9953165" y="2354008"/>
            <a:ext cx="306858" cy="350459"/>
            <a:chOff x="10832823" y="3353836"/>
            <a:chExt cx="537576" cy="528488"/>
          </a:xfrm>
        </p:grpSpPr>
        <p:sp>
          <p:nvSpPr>
            <p:cNvPr id="121" name="Oval 13"/>
            <p:cNvSpPr>
              <a:spLocks noChangeArrowheads="1"/>
            </p:cNvSpPr>
            <p:nvPr/>
          </p:nvSpPr>
          <p:spPr bwMode="auto">
            <a:xfrm>
              <a:off x="10943701" y="3353836"/>
              <a:ext cx="426698" cy="42669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24" name="Freeform 14"/>
            <p:cNvSpPr>
              <a:spLocks/>
            </p:cNvSpPr>
            <p:nvPr/>
          </p:nvSpPr>
          <p:spPr bwMode="auto">
            <a:xfrm>
              <a:off x="10832823" y="3702829"/>
              <a:ext cx="179495" cy="179495"/>
            </a:xfrm>
            <a:custGeom>
              <a:avLst/>
              <a:gdLst>
                <a:gd name="T0" fmla="*/ 1224 w 1980"/>
                <a:gd name="T1" fmla="*/ 0 h 1977"/>
                <a:gd name="T2" fmla="*/ 218 w 1980"/>
                <a:gd name="T3" fmla="*/ 985 h 1977"/>
                <a:gd name="T4" fmla="*/ 211 w 1980"/>
                <a:gd name="T5" fmla="*/ 1752 h 1977"/>
                <a:gd name="T6" fmla="*/ 218 w 1980"/>
                <a:gd name="T7" fmla="*/ 1759 h 1977"/>
                <a:gd name="T8" fmla="*/ 985 w 1980"/>
                <a:gd name="T9" fmla="*/ 1766 h 1977"/>
                <a:gd name="T10" fmla="*/ 1980 w 1980"/>
                <a:gd name="T11" fmla="*/ 788 h 1977"/>
                <a:gd name="T12" fmla="*/ 1224 w 1980"/>
                <a:gd name="T13" fmla="*/ 0 h 1977"/>
              </a:gdLst>
              <a:ahLst/>
              <a:cxnLst>
                <a:cxn ang="0">
                  <a:pos x="T0" y="T1"/>
                </a:cxn>
                <a:cxn ang="0">
                  <a:pos x="T2" y="T3"/>
                </a:cxn>
                <a:cxn ang="0">
                  <a:pos x="T4" y="T5"/>
                </a:cxn>
                <a:cxn ang="0">
                  <a:pos x="T6" y="T7"/>
                </a:cxn>
                <a:cxn ang="0">
                  <a:pos x="T8" y="T9"/>
                </a:cxn>
                <a:cxn ang="0">
                  <a:pos x="T10" y="T11"/>
                </a:cxn>
                <a:cxn ang="0">
                  <a:pos x="T12" y="T13"/>
                </a:cxn>
              </a:cxnLst>
              <a:rect l="0" t="0" r="r" b="b"/>
              <a:pathLst>
                <a:path w="1980" h="1977">
                  <a:moveTo>
                    <a:pt x="1224" y="0"/>
                  </a:moveTo>
                  <a:cubicBezTo>
                    <a:pt x="218" y="985"/>
                    <a:pt x="218" y="985"/>
                    <a:pt x="218" y="985"/>
                  </a:cubicBezTo>
                  <a:cubicBezTo>
                    <a:pt x="4" y="1196"/>
                    <a:pt x="0" y="1538"/>
                    <a:pt x="211" y="1752"/>
                  </a:cubicBezTo>
                  <a:cubicBezTo>
                    <a:pt x="218" y="1759"/>
                    <a:pt x="218" y="1759"/>
                    <a:pt x="218" y="1759"/>
                  </a:cubicBezTo>
                  <a:cubicBezTo>
                    <a:pt x="429" y="1974"/>
                    <a:pt x="771" y="1977"/>
                    <a:pt x="985" y="1766"/>
                  </a:cubicBezTo>
                  <a:cubicBezTo>
                    <a:pt x="1980" y="788"/>
                    <a:pt x="1980" y="788"/>
                    <a:pt x="1980" y="788"/>
                  </a:cubicBezTo>
                  <a:cubicBezTo>
                    <a:pt x="1683" y="581"/>
                    <a:pt x="1424" y="315"/>
                    <a:pt x="122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96" name="Group 95">
            <a:extLst>
              <a:ext uri="{FF2B5EF4-FFF2-40B4-BE49-F238E27FC236}">
                <a16:creationId xmlns:a16="http://schemas.microsoft.com/office/drawing/2014/main" id="{F5B7BC7D-D004-4779-BC36-B9AAB4049313}"/>
              </a:ext>
            </a:extLst>
          </p:cNvPr>
          <p:cNvGrpSpPr/>
          <p:nvPr/>
        </p:nvGrpSpPr>
        <p:grpSpPr>
          <a:xfrm>
            <a:off x="459064" y="5116365"/>
            <a:ext cx="2141064" cy="639988"/>
            <a:chOff x="6827777" y="3802062"/>
            <a:chExt cx="2459932" cy="533400"/>
          </a:xfrm>
          <a:solidFill>
            <a:schemeClr val="tx1"/>
          </a:solidFill>
        </p:grpSpPr>
        <p:sp>
          <p:nvSpPr>
            <p:cNvPr id="126" name="Flowchart: Process 8">
              <a:extLst>
                <a:ext uri="{FF2B5EF4-FFF2-40B4-BE49-F238E27FC236}">
                  <a16:creationId xmlns:a16="http://schemas.microsoft.com/office/drawing/2014/main" id="{55C2CD41-4ECB-4DCC-B7A0-66117C9D258A}"/>
                </a:ext>
              </a:extLst>
            </p:cNvPr>
            <p:cNvSpPr/>
            <p:nvPr/>
          </p:nvSpPr>
          <p:spPr bwMode="auto">
            <a:xfrm>
              <a:off x="6827777" y="3802062"/>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16" tIns="89616" rIns="33610" bIns="33610" rtlCol="0" anchor="b" anchorCtr="0"/>
            <a:lstStyle/>
            <a:p>
              <a:pPr marL="0" marR="0" lvl="0" indent="0" algn="ctr" defTabSz="91368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129" name="Rectangle 128">
              <a:extLst>
                <a:ext uri="{FF2B5EF4-FFF2-40B4-BE49-F238E27FC236}">
                  <a16:creationId xmlns:a16="http://schemas.microsoft.com/office/drawing/2014/main" id="{15E9A481-79EB-4252-806D-3376B95E211E}"/>
                </a:ext>
              </a:extLst>
            </p:cNvPr>
            <p:cNvSpPr/>
            <p:nvPr/>
          </p:nvSpPr>
          <p:spPr>
            <a:xfrm>
              <a:off x="6994719" y="3892910"/>
              <a:ext cx="2122880" cy="388654"/>
            </a:xfrm>
            <a:prstGeom prst="rect">
              <a:avLst/>
            </a:prstGeom>
            <a:grpFill/>
            <a:ln w="9525" cap="flat" cmpd="sng" algn="ctr">
              <a:noFill/>
              <a:prstDash val="solid"/>
            </a:ln>
            <a:effectLst/>
          </p:spPr>
          <p:txBody>
            <a:bodyPr lIns="119299" tIns="59648" rIns="119299" bIns="59648" rtlCol="0" anchor="ctr"/>
            <a:lstStyle/>
            <a:p>
              <a:pPr marL="0" marR="0" lvl="0" indent="0" algn="l" defTabSz="896042"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gradFill>
                    <a:gsLst>
                      <a:gs pos="0">
                        <a:srgbClr val="404040"/>
                      </a:gs>
                      <a:gs pos="100000">
                        <a:srgbClr val="404040"/>
                      </a:gs>
                    </a:gsLst>
                    <a:lin ang="5400000" scaled="0"/>
                  </a:gradFill>
                  <a:effectLst/>
                  <a:uLnTx/>
                  <a:uFillTx/>
                  <a:latin typeface="Segoe UI Light"/>
                  <a:ea typeface="+mn-ea"/>
                  <a:cs typeface="+mn-cs"/>
                </a:rPr>
                <a:t>Content Moderator</a:t>
              </a:r>
            </a:p>
          </p:txBody>
        </p:sp>
      </p:grpSp>
      <p:grpSp>
        <p:nvGrpSpPr>
          <p:cNvPr id="94" name="Group 93">
            <a:extLst>
              <a:ext uri="{FF2B5EF4-FFF2-40B4-BE49-F238E27FC236}">
                <a16:creationId xmlns:a16="http://schemas.microsoft.com/office/drawing/2014/main" id="{1FB1BC59-4A08-4BFC-8655-2EE2182DDC40}"/>
              </a:ext>
            </a:extLst>
          </p:cNvPr>
          <p:cNvGrpSpPr/>
          <p:nvPr/>
        </p:nvGrpSpPr>
        <p:grpSpPr>
          <a:xfrm>
            <a:off x="459064" y="5842843"/>
            <a:ext cx="2141064" cy="639988"/>
            <a:chOff x="6827777" y="3802062"/>
            <a:chExt cx="2459932" cy="533400"/>
          </a:xfrm>
          <a:solidFill>
            <a:schemeClr val="tx1"/>
          </a:solidFill>
        </p:grpSpPr>
        <p:sp>
          <p:nvSpPr>
            <p:cNvPr id="130" name="Flowchart: Process 8">
              <a:extLst>
                <a:ext uri="{FF2B5EF4-FFF2-40B4-BE49-F238E27FC236}">
                  <a16:creationId xmlns:a16="http://schemas.microsoft.com/office/drawing/2014/main" id="{0F6EC8AA-54F9-4213-AFF3-9461BD447318}"/>
                </a:ext>
              </a:extLst>
            </p:cNvPr>
            <p:cNvSpPr/>
            <p:nvPr/>
          </p:nvSpPr>
          <p:spPr bwMode="auto">
            <a:xfrm>
              <a:off x="6827777" y="3802062"/>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16" tIns="89616" rIns="33610" bIns="33610" rtlCol="0" anchor="b" anchorCtr="0"/>
            <a:lstStyle/>
            <a:p>
              <a:pPr marL="0" marR="0" lvl="0" indent="0" algn="ctr" defTabSz="91368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131" name="Rectangle 130">
              <a:extLst>
                <a:ext uri="{FF2B5EF4-FFF2-40B4-BE49-F238E27FC236}">
                  <a16:creationId xmlns:a16="http://schemas.microsoft.com/office/drawing/2014/main" id="{821DEC46-0229-49C9-AE0C-9B8B4FB0078D}"/>
                </a:ext>
              </a:extLst>
            </p:cNvPr>
            <p:cNvSpPr/>
            <p:nvPr/>
          </p:nvSpPr>
          <p:spPr>
            <a:xfrm>
              <a:off x="6994719" y="3892910"/>
              <a:ext cx="2122880" cy="388654"/>
            </a:xfrm>
            <a:prstGeom prst="rect">
              <a:avLst/>
            </a:prstGeom>
            <a:grpFill/>
            <a:ln w="9525" cap="flat" cmpd="sng" algn="ctr">
              <a:noFill/>
              <a:prstDash val="solid"/>
            </a:ln>
            <a:effectLst/>
          </p:spPr>
          <p:txBody>
            <a:bodyPr lIns="119299" tIns="59648" rIns="119299" bIns="59648" rtlCol="0" anchor="ctr"/>
            <a:lstStyle/>
            <a:p>
              <a:pPr marL="0" marR="0" lvl="0" indent="0" algn="l" defTabSz="896042"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gradFill>
                    <a:gsLst>
                      <a:gs pos="0">
                        <a:srgbClr val="404040"/>
                      </a:gs>
                      <a:gs pos="100000">
                        <a:srgbClr val="404040"/>
                      </a:gs>
                    </a:gsLst>
                    <a:lin ang="5400000" scaled="0"/>
                  </a:gradFill>
                  <a:effectLst/>
                  <a:uLnTx/>
                  <a:uFillTx/>
                  <a:latin typeface="Segoe UI Light"/>
                  <a:ea typeface="+mn-ea"/>
                  <a:cs typeface="+mn-cs"/>
                </a:rPr>
                <a:t>Custom Vision</a:t>
              </a:r>
            </a:p>
          </p:txBody>
        </p:sp>
      </p:grpSp>
      <p:pic>
        <p:nvPicPr>
          <p:cNvPr id="5" name="Picture 4" descr="A screenshot of a cell phone&#10;&#10;Description generated with very high confidence">
            <a:extLst>
              <a:ext uri="{FF2B5EF4-FFF2-40B4-BE49-F238E27FC236}">
                <a16:creationId xmlns:a16="http://schemas.microsoft.com/office/drawing/2014/main" id="{0FE2CB0C-B3CD-4FB3-B28D-886DBEFE5D0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497"/>
            <a:ext cx="12435593" cy="6995021"/>
          </a:xfrm>
          <a:prstGeom prst="rect">
            <a:avLst/>
          </a:prstGeom>
        </p:spPr>
      </p:pic>
    </p:spTree>
    <p:custDataLst>
      <p:tags r:id="rId1"/>
    </p:custDataLst>
    <p:extLst>
      <p:ext uri="{BB962C8B-B14F-4D97-AF65-F5344CB8AC3E}">
        <p14:creationId xmlns:p14="http://schemas.microsoft.com/office/powerpoint/2010/main" val="125382455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a:spLocks/>
          </p:cNvSpPr>
          <p:nvPr/>
        </p:nvSpPr>
        <p:spPr bwMode="auto">
          <a:xfrm>
            <a:off x="8055099" y="1261594"/>
            <a:ext cx="3987958" cy="7965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224" tIns="44611" rIns="89224" bIns="44611" numCol="1" spcCol="0" rtlCol="0" fromWordArt="0" anchor="ctr" anchorCtr="0" forceAA="0" compatLnSpc="1">
            <a:prstTxWarp prst="textNoShape">
              <a:avLst/>
            </a:prstTxWarp>
            <a:noAutofit/>
          </a:bodyPr>
          <a:lstStyle/>
          <a:p>
            <a:pPr marL="0" marR="0" lvl="0" indent="0" algn="r" defTabSz="909375" rtl="0" eaLnBrk="1" fontAlgn="auto" latinLnBrk="0" hangingPunct="1">
              <a:lnSpc>
                <a:spcPct val="100000"/>
              </a:lnSpc>
              <a:spcBef>
                <a:spcPts val="0"/>
              </a:spcBef>
              <a:spcAft>
                <a:spcPts val="0"/>
              </a:spcAft>
              <a:buClrTx/>
              <a:buSzTx/>
              <a:buFontTx/>
              <a:buNone/>
              <a:tabLst/>
              <a:defRPr/>
            </a:pPr>
            <a:endParaRPr kumimoji="0" lang="en-US" sz="1765" b="1" i="0" u="none" strike="noStrike" kern="0" cap="none" spc="0" normalizeH="0" baseline="0" noProof="0">
              <a:ln>
                <a:noFill/>
              </a:ln>
              <a:solidFill>
                <a:srgbClr val="FFB900"/>
              </a:solidFill>
              <a:effectLst/>
              <a:uLnTx/>
              <a:uFillTx/>
              <a:latin typeface="Segoe UI"/>
              <a:ea typeface="+mn-ea"/>
              <a:cs typeface="+mn-cs"/>
            </a:endParaRPr>
          </a:p>
        </p:txBody>
      </p:sp>
      <p:sp>
        <p:nvSpPr>
          <p:cNvPr id="16" name="Rectangle 15"/>
          <p:cNvSpPr>
            <a:spLocks/>
          </p:cNvSpPr>
          <p:nvPr/>
        </p:nvSpPr>
        <p:spPr bwMode="auto">
          <a:xfrm>
            <a:off x="8055099" y="1261594"/>
            <a:ext cx="3987958" cy="7965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224" tIns="44611" rIns="89224" bIns="44611" numCol="1" spcCol="0" rtlCol="0" fromWordArt="0" anchor="ctr" anchorCtr="0" forceAA="0" compatLnSpc="1">
            <a:prstTxWarp prst="textNoShape">
              <a:avLst/>
            </a:prstTxWarp>
            <a:noAutofit/>
          </a:bodyPr>
          <a:lstStyle/>
          <a:p>
            <a:pPr marL="0" marR="0" lvl="0" indent="0" algn="r" defTabSz="909375" rtl="0" eaLnBrk="1" fontAlgn="auto" latinLnBrk="0" hangingPunct="1">
              <a:lnSpc>
                <a:spcPct val="100000"/>
              </a:lnSpc>
              <a:spcBef>
                <a:spcPts val="0"/>
              </a:spcBef>
              <a:spcAft>
                <a:spcPts val="0"/>
              </a:spcAft>
              <a:buClrTx/>
              <a:buSzTx/>
              <a:buFontTx/>
              <a:buNone/>
              <a:tabLst/>
              <a:defRPr/>
            </a:pPr>
            <a:endParaRPr kumimoji="0" lang="en-US" sz="1765" b="1" i="0" u="none" strike="noStrike" kern="0" cap="none" spc="0" normalizeH="0" baseline="0" noProof="0">
              <a:ln>
                <a:noFill/>
              </a:ln>
              <a:solidFill>
                <a:srgbClr val="FFB900"/>
              </a:solidFill>
              <a:effectLst/>
              <a:uLnTx/>
              <a:uFillTx/>
              <a:latin typeface="Segoe UI"/>
              <a:ea typeface="+mn-ea"/>
              <a:cs typeface="+mn-cs"/>
            </a:endParaRPr>
          </a:p>
        </p:txBody>
      </p:sp>
      <p:grpSp>
        <p:nvGrpSpPr>
          <p:cNvPr id="34" name="Group 33"/>
          <p:cNvGrpSpPr/>
          <p:nvPr/>
        </p:nvGrpSpPr>
        <p:grpSpPr>
          <a:xfrm>
            <a:off x="461675" y="3648442"/>
            <a:ext cx="2143454" cy="639988"/>
            <a:chOff x="6827777" y="3802062"/>
            <a:chExt cx="2459932" cy="533400"/>
          </a:xfrm>
          <a:solidFill>
            <a:schemeClr val="tx1"/>
          </a:solidFill>
        </p:grpSpPr>
        <p:sp>
          <p:nvSpPr>
            <p:cNvPr id="37" name="Flowchart: Process 8"/>
            <p:cNvSpPr/>
            <p:nvPr/>
          </p:nvSpPr>
          <p:spPr bwMode="auto">
            <a:xfrm>
              <a:off x="6827777" y="3802062"/>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16" tIns="89616" rIns="33610" bIns="33610" rtlCol="0" anchor="b" anchorCtr="0"/>
            <a:lstStyle/>
            <a:p>
              <a:pPr marL="0" marR="0" lvl="0" indent="0" algn="ctr" defTabSz="91368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36" name="Rectangle 35"/>
            <p:cNvSpPr/>
            <p:nvPr/>
          </p:nvSpPr>
          <p:spPr>
            <a:xfrm>
              <a:off x="7014491" y="3892910"/>
              <a:ext cx="2103108" cy="388654"/>
            </a:xfrm>
            <a:prstGeom prst="rect">
              <a:avLst/>
            </a:prstGeom>
            <a:grpFill/>
            <a:ln w="9525" cap="flat" cmpd="sng" algn="ctr">
              <a:noFill/>
              <a:prstDash val="solid"/>
            </a:ln>
            <a:effectLst/>
          </p:spPr>
          <p:txBody>
            <a:bodyPr lIns="119299" tIns="59648" rIns="119299" bIns="59648" rtlCol="0" anchor="ctr"/>
            <a:lstStyle/>
            <a:p>
              <a:pPr marL="0" marR="0" lvl="0" indent="0" algn="l" defTabSz="896042"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gradFill>
                    <a:gsLst>
                      <a:gs pos="0">
                        <a:srgbClr val="404040"/>
                      </a:gs>
                      <a:gs pos="100000">
                        <a:srgbClr val="404040"/>
                      </a:gs>
                    </a:gsLst>
                    <a:lin ang="5400000" scaled="0"/>
                  </a:gradFill>
                  <a:effectLst/>
                  <a:uLnTx/>
                  <a:uFillTx/>
                  <a:latin typeface="Segoe UI Light"/>
                  <a:ea typeface="+mn-ea"/>
                  <a:cs typeface="+mn-cs"/>
                </a:rPr>
                <a:t>Face</a:t>
              </a:r>
            </a:p>
          </p:txBody>
        </p:sp>
      </p:grpSp>
      <p:grpSp>
        <p:nvGrpSpPr>
          <p:cNvPr id="39" name="Group 38"/>
          <p:cNvGrpSpPr/>
          <p:nvPr/>
        </p:nvGrpSpPr>
        <p:grpSpPr>
          <a:xfrm>
            <a:off x="461675" y="4376108"/>
            <a:ext cx="2141064" cy="639988"/>
            <a:chOff x="6827777" y="3802062"/>
            <a:chExt cx="2459932" cy="533400"/>
          </a:xfrm>
          <a:solidFill>
            <a:schemeClr val="tx1"/>
          </a:solidFill>
        </p:grpSpPr>
        <p:sp>
          <p:nvSpPr>
            <p:cNvPr id="42" name="Flowchart: Process 8"/>
            <p:cNvSpPr/>
            <p:nvPr/>
          </p:nvSpPr>
          <p:spPr bwMode="auto">
            <a:xfrm>
              <a:off x="6827777" y="3802062"/>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16" tIns="89616" rIns="33610" bIns="33610" rtlCol="0" anchor="b" anchorCtr="0"/>
            <a:lstStyle/>
            <a:p>
              <a:pPr marL="0" marR="0" lvl="0" indent="0" algn="ctr" defTabSz="91368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41" name="Rectangle 40"/>
            <p:cNvSpPr/>
            <p:nvPr/>
          </p:nvSpPr>
          <p:spPr>
            <a:xfrm>
              <a:off x="6994719" y="3892910"/>
              <a:ext cx="2122880" cy="388654"/>
            </a:xfrm>
            <a:prstGeom prst="rect">
              <a:avLst/>
            </a:prstGeom>
            <a:grpFill/>
            <a:ln w="9525" cap="flat" cmpd="sng" algn="ctr">
              <a:noFill/>
              <a:prstDash val="solid"/>
            </a:ln>
            <a:effectLst/>
          </p:spPr>
          <p:txBody>
            <a:bodyPr lIns="119299" tIns="59648" rIns="119299" bIns="59648" rtlCol="0" anchor="ctr"/>
            <a:lstStyle/>
            <a:p>
              <a:pPr marL="0" marR="0" lvl="0" indent="0" algn="l" defTabSz="896042"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gradFill>
                    <a:gsLst>
                      <a:gs pos="0">
                        <a:srgbClr val="404040"/>
                      </a:gs>
                      <a:gs pos="100000">
                        <a:srgbClr val="404040"/>
                      </a:gs>
                    </a:gsLst>
                    <a:lin ang="5400000" scaled="0"/>
                  </a:gradFill>
                  <a:effectLst/>
                  <a:uLnTx/>
                  <a:uFillTx/>
                  <a:latin typeface="Segoe UI Light"/>
                  <a:ea typeface="+mn-ea"/>
                  <a:cs typeface="+mn-cs"/>
                </a:rPr>
                <a:t>Video</a:t>
              </a:r>
            </a:p>
          </p:txBody>
        </p:sp>
      </p:grpSp>
      <p:sp>
        <p:nvSpPr>
          <p:cNvPr id="45" name="Right Bracket 44"/>
          <p:cNvSpPr/>
          <p:nvPr/>
        </p:nvSpPr>
        <p:spPr>
          <a:xfrm rot="16200000">
            <a:off x="6055476" y="-3810186"/>
            <a:ext cx="214117" cy="11811002"/>
          </a:xfrm>
          <a:prstGeom prst="rightBracket">
            <a:avLst>
              <a:gd name="adj" fmla="val 78933"/>
            </a:avLst>
          </a:prstGeom>
          <a:ln w="28575"/>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black"/>
              </a:solidFill>
              <a:effectLst/>
              <a:uLnTx/>
              <a:uFillTx/>
              <a:latin typeface="Segoe UI"/>
              <a:ea typeface="+mn-ea"/>
              <a:cs typeface="+mn-cs"/>
            </a:endParaRPr>
          </a:p>
        </p:txBody>
      </p:sp>
      <p:grpSp>
        <p:nvGrpSpPr>
          <p:cNvPr id="71" name="Group 70"/>
          <p:cNvGrpSpPr/>
          <p:nvPr/>
        </p:nvGrpSpPr>
        <p:grpSpPr>
          <a:xfrm>
            <a:off x="463054" y="2202600"/>
            <a:ext cx="2142077" cy="639989"/>
            <a:chOff x="803520" y="1881281"/>
            <a:chExt cx="2219313" cy="640080"/>
          </a:xfrm>
        </p:grpSpPr>
        <p:sp>
          <p:nvSpPr>
            <p:cNvPr id="73" name="Rectangle 72"/>
            <p:cNvSpPr/>
            <p:nvPr/>
          </p:nvSpPr>
          <p:spPr>
            <a:xfrm>
              <a:off x="803520" y="1881281"/>
              <a:ext cx="2219313" cy="640080"/>
            </a:xfrm>
            <a:prstGeom prst="rect">
              <a:avLst/>
            </a:prstGeom>
            <a:solidFill>
              <a:srgbClr val="009580"/>
            </a:solidFill>
            <a:ln w="9525" cap="flat" cmpd="sng" algn="ctr">
              <a:noFill/>
              <a:prstDash val="solid"/>
            </a:ln>
            <a:effectLst/>
          </p:spPr>
          <p:txBody>
            <a:bodyPr lIns="119299" tIns="59648" rIns="119299" bIns="59648"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mn-cs"/>
              </a:endParaRPr>
            </a:p>
          </p:txBody>
        </p:sp>
        <p:sp>
          <p:nvSpPr>
            <p:cNvPr id="74" name="TextBox 73"/>
            <p:cNvSpPr txBox="1"/>
            <p:nvPr/>
          </p:nvSpPr>
          <p:spPr>
            <a:xfrm>
              <a:off x="1227725" y="1886159"/>
              <a:ext cx="1177272" cy="627911"/>
            </a:xfrm>
            <a:prstGeom prst="rect">
              <a:avLst/>
            </a:prstGeom>
            <a:noFill/>
            <a:ln>
              <a:noFill/>
            </a:ln>
          </p:spPr>
          <p:txBody>
            <a:bodyPr wrap="square" lIns="182854" tIns="146283" rIns="182854" bIns="146283" rtlCol="0" anchor="ctr">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Vision</a:t>
              </a:r>
            </a:p>
          </p:txBody>
        </p:sp>
      </p:grpSp>
      <p:sp>
        <p:nvSpPr>
          <p:cNvPr id="101" name="Freeform 22"/>
          <p:cNvSpPr>
            <a:spLocks noChangeAspect="1"/>
          </p:cNvSpPr>
          <p:nvPr/>
        </p:nvSpPr>
        <p:spPr bwMode="auto">
          <a:xfrm>
            <a:off x="550897" y="2408221"/>
            <a:ext cx="365760" cy="242032"/>
          </a:xfrm>
          <a:custGeom>
            <a:avLst/>
            <a:gdLst>
              <a:gd name="T0" fmla="*/ 4942 w 7181"/>
              <a:gd name="T1" fmla="*/ 414 h 4752"/>
              <a:gd name="T2" fmla="*/ 3024 w 7181"/>
              <a:gd name="T3" fmla="*/ 152 h 4752"/>
              <a:gd name="T4" fmla="*/ 0 w 7181"/>
              <a:gd name="T5" fmla="*/ 2353 h 4752"/>
              <a:gd name="T6" fmla="*/ 2201 w 7181"/>
              <a:gd name="T7" fmla="*/ 4282 h 4752"/>
              <a:gd name="T8" fmla="*/ 4848 w 7181"/>
              <a:gd name="T9" fmla="*/ 4351 h 4752"/>
              <a:gd name="T10" fmla="*/ 7102 w 7181"/>
              <a:gd name="T11" fmla="*/ 2474 h 4752"/>
              <a:gd name="T12" fmla="*/ 7181 w 7181"/>
              <a:gd name="T13" fmla="*/ 2350 h 4752"/>
              <a:gd name="T14" fmla="*/ 4942 w 7181"/>
              <a:gd name="T15" fmla="*/ 414 h 47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81" h="4752">
                <a:moveTo>
                  <a:pt x="4942" y="414"/>
                </a:moveTo>
                <a:cubicBezTo>
                  <a:pt x="4333" y="124"/>
                  <a:pt x="3691" y="0"/>
                  <a:pt x="3024" y="152"/>
                </a:cubicBezTo>
                <a:cubicBezTo>
                  <a:pt x="1710" y="456"/>
                  <a:pt x="812" y="1327"/>
                  <a:pt x="0" y="2353"/>
                </a:cubicBezTo>
                <a:cubicBezTo>
                  <a:pt x="608" y="3169"/>
                  <a:pt x="1306" y="3839"/>
                  <a:pt x="2201" y="4282"/>
                </a:cubicBezTo>
                <a:cubicBezTo>
                  <a:pt x="3069" y="4710"/>
                  <a:pt x="3957" y="4752"/>
                  <a:pt x="4848" y="4351"/>
                </a:cubicBezTo>
                <a:cubicBezTo>
                  <a:pt x="5771" y="3932"/>
                  <a:pt x="6490" y="3269"/>
                  <a:pt x="7102" y="2474"/>
                </a:cubicBezTo>
                <a:cubicBezTo>
                  <a:pt x="7129" y="2436"/>
                  <a:pt x="7154" y="2395"/>
                  <a:pt x="7181" y="2350"/>
                </a:cubicBezTo>
                <a:cubicBezTo>
                  <a:pt x="6570" y="1534"/>
                  <a:pt x="5861" y="853"/>
                  <a:pt x="4942" y="41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6" name="Rectangle 95"/>
          <p:cNvSpPr/>
          <p:nvPr/>
        </p:nvSpPr>
        <p:spPr>
          <a:xfrm>
            <a:off x="274639" y="1328270"/>
            <a:ext cx="11889564" cy="568792"/>
          </a:xfrm>
          <a:prstGeom prst="rect">
            <a:avLst/>
          </a:prstGeom>
          <a:solidFill>
            <a:schemeClr val="tx1"/>
          </a:solidFill>
          <a:ln w="25400" cap="flat" cmpd="sng" algn="ctr">
            <a:noFill/>
            <a:prstDash val="solid"/>
          </a:ln>
          <a:effectLst/>
        </p:spPr>
        <p:txBody>
          <a:bodyPr lIns="119315" tIns="59657" rIns="119315" bIns="59657"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defTabSz="896214">
              <a:defRPr/>
            </a:pPr>
            <a:r>
              <a:rPr lang="en-US" sz="3400" b="1" kern="0" dirty="0">
                <a:solidFill>
                  <a:srgbClr val="505050"/>
                </a:solidFill>
                <a:latin typeface="Segoe UI Light"/>
              </a:rPr>
              <a:t>Cognitive Services – Vision APIs</a:t>
            </a:r>
            <a:endParaRPr kumimoji="0" lang="en-US" sz="3400" b="1" i="0" u="none" strike="noStrike" kern="0" cap="none" spc="0" normalizeH="0" baseline="0" noProof="0" dirty="0">
              <a:ln>
                <a:noFill/>
              </a:ln>
              <a:solidFill>
                <a:srgbClr val="505050"/>
              </a:solidFill>
              <a:effectLst/>
              <a:uLnTx/>
              <a:uFillTx/>
              <a:latin typeface="Segoe UI Light"/>
              <a:ea typeface="+mn-ea"/>
              <a:cs typeface="+mn-cs"/>
            </a:endParaRPr>
          </a:p>
        </p:txBody>
      </p:sp>
      <p:sp>
        <p:nvSpPr>
          <p:cNvPr id="126" name="Rectangle 125"/>
          <p:cNvSpPr/>
          <p:nvPr/>
        </p:nvSpPr>
        <p:spPr>
          <a:xfrm>
            <a:off x="274639" y="2044305"/>
            <a:ext cx="2552232" cy="4653357"/>
          </a:xfrm>
          <a:prstGeom prst="rect">
            <a:avLst/>
          </a:prstGeom>
          <a:noFill/>
          <a:ln>
            <a:solidFill>
              <a:schemeClr val="tx2">
                <a:lumMod val="40000"/>
                <a:lumOff val="6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lIns="121725" tIns="60862" rIns="121725" bIns="60862"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35" name="Group 34">
            <a:extLst>
              <a:ext uri="{FF2B5EF4-FFF2-40B4-BE49-F238E27FC236}">
                <a16:creationId xmlns:a16="http://schemas.microsoft.com/office/drawing/2014/main" id="{2AB14589-8108-49D6-BEE9-793BC26398AE}"/>
              </a:ext>
            </a:extLst>
          </p:cNvPr>
          <p:cNvGrpSpPr/>
          <p:nvPr/>
        </p:nvGrpSpPr>
        <p:grpSpPr>
          <a:xfrm>
            <a:off x="472222" y="5802316"/>
            <a:ext cx="2142075" cy="639988"/>
            <a:chOff x="6827776" y="3192468"/>
            <a:chExt cx="2459933" cy="533401"/>
          </a:xfrm>
          <a:solidFill>
            <a:srgbClr val="0070C0"/>
          </a:solidFill>
        </p:grpSpPr>
        <p:sp>
          <p:nvSpPr>
            <p:cNvPr id="38" name="Flowchart: Process 8">
              <a:extLst>
                <a:ext uri="{FF2B5EF4-FFF2-40B4-BE49-F238E27FC236}">
                  <a16:creationId xmlns:a16="http://schemas.microsoft.com/office/drawing/2014/main" id="{819B28CB-C688-468C-8FE2-0EDBC39DE7F8}"/>
                </a:ext>
              </a:extLst>
            </p:cNvPr>
            <p:cNvSpPr/>
            <p:nvPr/>
          </p:nvSpPr>
          <p:spPr bwMode="auto">
            <a:xfrm>
              <a:off x="6827776" y="3192468"/>
              <a:ext cx="2459933" cy="53340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16" tIns="89616" rIns="33610" bIns="33610" rtlCol="0" anchor="b" anchorCtr="0"/>
            <a:lstStyle/>
            <a:p>
              <a:pPr marL="0" marR="0" lvl="0" indent="0" algn="ctr" defTabSz="91368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40" name="Rectangle 39">
              <a:extLst>
                <a:ext uri="{FF2B5EF4-FFF2-40B4-BE49-F238E27FC236}">
                  <a16:creationId xmlns:a16="http://schemas.microsoft.com/office/drawing/2014/main" id="{3391F011-1A69-4E4D-BD24-166F79DC5943}"/>
                </a:ext>
              </a:extLst>
            </p:cNvPr>
            <p:cNvSpPr/>
            <p:nvPr/>
          </p:nvSpPr>
          <p:spPr>
            <a:xfrm>
              <a:off x="6986793" y="3268665"/>
              <a:ext cx="2130806" cy="388654"/>
            </a:xfrm>
            <a:prstGeom prst="rect">
              <a:avLst/>
            </a:prstGeom>
            <a:grpFill/>
            <a:ln w="9525" cap="flat" cmpd="sng" algn="ctr">
              <a:noFill/>
              <a:prstDash val="solid"/>
            </a:ln>
            <a:effectLst/>
          </p:spPr>
          <p:txBody>
            <a:bodyPr lIns="119299" tIns="59648" rIns="119299" bIns="59648" rtlCol="0" anchor="ctr"/>
            <a:lstStyle/>
            <a:p>
              <a:pPr marL="0" marR="0" lvl="0" indent="0" algn="l" defTabSz="896042"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Segoe UI Light"/>
                  <a:ea typeface="+mn-ea"/>
                  <a:cs typeface="+mn-cs"/>
                </a:rPr>
                <a:t>Custom Vision</a:t>
              </a:r>
            </a:p>
          </p:txBody>
        </p:sp>
      </p:grpSp>
      <p:grpSp>
        <p:nvGrpSpPr>
          <p:cNvPr id="43" name="Group 42">
            <a:extLst>
              <a:ext uri="{FF2B5EF4-FFF2-40B4-BE49-F238E27FC236}">
                <a16:creationId xmlns:a16="http://schemas.microsoft.com/office/drawing/2014/main" id="{BE5D5105-3E44-4ECC-A25E-51545D24F43B}"/>
              </a:ext>
            </a:extLst>
          </p:cNvPr>
          <p:cNvGrpSpPr/>
          <p:nvPr/>
        </p:nvGrpSpPr>
        <p:grpSpPr>
          <a:xfrm>
            <a:off x="461675" y="2925408"/>
            <a:ext cx="2141063" cy="639988"/>
            <a:chOff x="6827777" y="4411662"/>
            <a:chExt cx="2459932" cy="533400"/>
          </a:xfrm>
          <a:solidFill>
            <a:schemeClr val="tx1"/>
          </a:solidFill>
        </p:grpSpPr>
        <p:sp>
          <p:nvSpPr>
            <p:cNvPr id="44" name="Flowchart: Process 8">
              <a:extLst>
                <a:ext uri="{FF2B5EF4-FFF2-40B4-BE49-F238E27FC236}">
                  <a16:creationId xmlns:a16="http://schemas.microsoft.com/office/drawing/2014/main" id="{F6E1AB3C-3AE2-4B46-8703-C19034A43B3E}"/>
                </a:ext>
              </a:extLst>
            </p:cNvPr>
            <p:cNvSpPr/>
            <p:nvPr/>
          </p:nvSpPr>
          <p:spPr bwMode="auto">
            <a:xfrm>
              <a:off x="6827777" y="4411662"/>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16" tIns="89616" rIns="33610" bIns="33610" rtlCol="0" anchor="b" anchorCtr="0"/>
            <a:lstStyle/>
            <a:p>
              <a:pPr marL="0" marR="0" lvl="0" indent="0" algn="ctr" defTabSz="91368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46" name="Rectangle 45">
              <a:extLst>
                <a:ext uri="{FF2B5EF4-FFF2-40B4-BE49-F238E27FC236}">
                  <a16:creationId xmlns:a16="http://schemas.microsoft.com/office/drawing/2014/main" id="{8B471E61-661E-47D0-912B-774C595982A0}"/>
                </a:ext>
              </a:extLst>
            </p:cNvPr>
            <p:cNvSpPr/>
            <p:nvPr/>
          </p:nvSpPr>
          <p:spPr>
            <a:xfrm>
              <a:off x="6996044" y="4520801"/>
              <a:ext cx="2121554" cy="329012"/>
            </a:xfrm>
            <a:prstGeom prst="rect">
              <a:avLst/>
            </a:prstGeom>
            <a:grpFill/>
            <a:ln w="9525" cap="flat" cmpd="sng" algn="ctr">
              <a:noFill/>
              <a:prstDash val="solid"/>
            </a:ln>
            <a:effectLst/>
          </p:spPr>
          <p:txBody>
            <a:bodyPr lIns="119299" tIns="59648" rIns="119299" bIns="59648" rtlCol="0" anchor="ctr"/>
            <a:lstStyle/>
            <a:p>
              <a:pPr marL="0" marR="0" lvl="0" indent="0" algn="l" defTabSz="896042"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gradFill>
                    <a:gsLst>
                      <a:gs pos="0">
                        <a:srgbClr val="404040"/>
                      </a:gs>
                      <a:gs pos="100000">
                        <a:srgbClr val="404040"/>
                      </a:gs>
                    </a:gsLst>
                    <a:lin ang="5400000" scaled="0"/>
                  </a:gradFill>
                  <a:effectLst/>
                  <a:uLnTx/>
                  <a:uFillTx/>
                  <a:latin typeface="Segoe UI Light"/>
                  <a:ea typeface="+mn-ea"/>
                  <a:cs typeface="+mn-cs"/>
                </a:rPr>
                <a:t>Computer Vision</a:t>
              </a:r>
            </a:p>
          </p:txBody>
        </p:sp>
      </p:grpSp>
      <p:pic>
        <p:nvPicPr>
          <p:cNvPr id="4" name="Picture 3">
            <a:extLst>
              <a:ext uri="{FF2B5EF4-FFF2-40B4-BE49-F238E27FC236}">
                <a16:creationId xmlns:a16="http://schemas.microsoft.com/office/drawing/2014/main" id="{79D79A0E-D1D8-4A49-A27C-7F0FD7947227}"/>
              </a:ext>
            </a:extLst>
          </p:cNvPr>
          <p:cNvPicPr>
            <a:picLocks noChangeAspect="1"/>
          </p:cNvPicPr>
          <p:nvPr/>
        </p:nvPicPr>
        <p:blipFill>
          <a:blip r:embed="rId4"/>
          <a:stretch>
            <a:fillRect/>
          </a:stretch>
        </p:blipFill>
        <p:spPr>
          <a:xfrm>
            <a:off x="2914714" y="2400650"/>
            <a:ext cx="4442976" cy="3787164"/>
          </a:xfrm>
          <a:prstGeom prst="rect">
            <a:avLst/>
          </a:prstGeom>
        </p:spPr>
      </p:pic>
      <p:pic>
        <p:nvPicPr>
          <p:cNvPr id="5" name="Picture 4">
            <a:extLst>
              <a:ext uri="{FF2B5EF4-FFF2-40B4-BE49-F238E27FC236}">
                <a16:creationId xmlns:a16="http://schemas.microsoft.com/office/drawing/2014/main" id="{7EA47C9F-5AC9-4CBD-9EFD-F552D8A8203A}"/>
              </a:ext>
            </a:extLst>
          </p:cNvPr>
          <p:cNvPicPr>
            <a:picLocks noChangeAspect="1"/>
          </p:cNvPicPr>
          <p:nvPr/>
        </p:nvPicPr>
        <p:blipFill>
          <a:blip r:embed="rId5"/>
          <a:stretch>
            <a:fillRect/>
          </a:stretch>
        </p:blipFill>
        <p:spPr>
          <a:xfrm>
            <a:off x="7445533" y="2408221"/>
            <a:ext cx="4925180" cy="3800259"/>
          </a:xfrm>
          <a:prstGeom prst="rect">
            <a:avLst/>
          </a:prstGeom>
        </p:spPr>
      </p:pic>
      <p:grpSp>
        <p:nvGrpSpPr>
          <p:cNvPr id="25" name="Group 24">
            <a:extLst>
              <a:ext uri="{FF2B5EF4-FFF2-40B4-BE49-F238E27FC236}">
                <a16:creationId xmlns:a16="http://schemas.microsoft.com/office/drawing/2014/main" id="{8FC4AE2C-485D-4528-B2DA-A1AC0B6438F2}"/>
              </a:ext>
            </a:extLst>
          </p:cNvPr>
          <p:cNvGrpSpPr/>
          <p:nvPr/>
        </p:nvGrpSpPr>
        <p:grpSpPr>
          <a:xfrm>
            <a:off x="461675" y="5094283"/>
            <a:ext cx="2141064" cy="639988"/>
            <a:chOff x="6827777" y="3802062"/>
            <a:chExt cx="2459932" cy="533400"/>
          </a:xfrm>
          <a:solidFill>
            <a:schemeClr val="tx1"/>
          </a:solidFill>
        </p:grpSpPr>
        <p:sp>
          <p:nvSpPr>
            <p:cNvPr id="26" name="Flowchart: Process 8">
              <a:extLst>
                <a:ext uri="{FF2B5EF4-FFF2-40B4-BE49-F238E27FC236}">
                  <a16:creationId xmlns:a16="http://schemas.microsoft.com/office/drawing/2014/main" id="{CB69A74C-E18C-4EB2-A2A2-A1480D8313D0}"/>
                </a:ext>
              </a:extLst>
            </p:cNvPr>
            <p:cNvSpPr/>
            <p:nvPr/>
          </p:nvSpPr>
          <p:spPr bwMode="auto">
            <a:xfrm>
              <a:off x="6827777" y="3802062"/>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16" tIns="89616" rIns="33610" bIns="33610" rtlCol="0" anchor="b" anchorCtr="0"/>
            <a:lstStyle/>
            <a:p>
              <a:pPr marL="0" marR="0" lvl="0" indent="0" algn="ctr" defTabSz="91368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27" name="Rectangle 26">
              <a:extLst>
                <a:ext uri="{FF2B5EF4-FFF2-40B4-BE49-F238E27FC236}">
                  <a16:creationId xmlns:a16="http://schemas.microsoft.com/office/drawing/2014/main" id="{442DB046-C3C4-439F-BCCD-88BB4F0E6D56}"/>
                </a:ext>
              </a:extLst>
            </p:cNvPr>
            <p:cNvSpPr/>
            <p:nvPr/>
          </p:nvSpPr>
          <p:spPr>
            <a:xfrm>
              <a:off x="6994719" y="3892910"/>
              <a:ext cx="2122880" cy="388654"/>
            </a:xfrm>
            <a:prstGeom prst="rect">
              <a:avLst/>
            </a:prstGeom>
            <a:grpFill/>
            <a:ln w="9525" cap="flat" cmpd="sng" algn="ctr">
              <a:noFill/>
              <a:prstDash val="solid"/>
            </a:ln>
            <a:effectLst/>
          </p:spPr>
          <p:txBody>
            <a:bodyPr lIns="119299" tIns="59648" rIns="119299" bIns="59648" rtlCol="0" anchor="ctr"/>
            <a:lstStyle/>
            <a:p>
              <a:pPr marL="0" marR="0" lvl="0" indent="0" algn="l" defTabSz="896042" rtl="0" eaLnBrk="1" fontAlgn="auto" latinLnBrk="0" hangingPunct="1">
                <a:lnSpc>
                  <a:spcPct val="100000"/>
                </a:lnSpc>
                <a:spcBef>
                  <a:spcPts val="0"/>
                </a:spcBef>
                <a:spcAft>
                  <a:spcPts val="0"/>
                </a:spcAft>
                <a:buClrTx/>
                <a:buSzTx/>
                <a:buFontTx/>
                <a:buNone/>
                <a:tabLst/>
                <a:defRPr/>
              </a:pPr>
              <a:r>
                <a:rPr lang="en-US" kern="0" dirty="0">
                  <a:gradFill>
                    <a:gsLst>
                      <a:gs pos="0">
                        <a:srgbClr val="404040"/>
                      </a:gs>
                      <a:gs pos="100000">
                        <a:srgbClr val="404040"/>
                      </a:gs>
                    </a:gsLst>
                    <a:lin ang="5400000" scaled="0"/>
                  </a:gradFill>
                  <a:latin typeface="Segoe UI Light"/>
                </a:rPr>
                <a:t>Content Moderator</a:t>
              </a:r>
              <a:endParaRPr kumimoji="0" lang="en-US" sz="1800" b="0" i="0" u="none" strike="noStrike" kern="0" cap="none" spc="0" normalizeH="0" baseline="0" noProof="0" dirty="0">
                <a:ln>
                  <a:noFill/>
                </a:ln>
                <a:gradFill>
                  <a:gsLst>
                    <a:gs pos="0">
                      <a:srgbClr val="404040"/>
                    </a:gs>
                    <a:gs pos="100000">
                      <a:srgbClr val="404040"/>
                    </a:gs>
                  </a:gsLst>
                  <a:lin ang="5400000" scaled="0"/>
                </a:gradFill>
                <a:effectLst/>
                <a:uLnTx/>
                <a:uFillTx/>
                <a:latin typeface="Segoe UI Light"/>
                <a:ea typeface="+mn-ea"/>
                <a:cs typeface="+mn-cs"/>
              </a:endParaRPr>
            </a:p>
          </p:txBody>
        </p:sp>
      </p:grpSp>
    </p:spTree>
    <p:custDataLst>
      <p:tags r:id="rId1"/>
    </p:custDataLst>
    <p:extLst>
      <p:ext uri="{BB962C8B-B14F-4D97-AF65-F5344CB8AC3E}">
        <p14:creationId xmlns:p14="http://schemas.microsoft.com/office/powerpoint/2010/main" val="230462710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74638" y="2125662"/>
            <a:ext cx="11887200" cy="1098762"/>
          </a:xfrm>
        </p:spPr>
        <p:txBody>
          <a:bodyPr/>
          <a:lstStyle/>
          <a:p>
            <a:r>
              <a:rPr lang="en-GB" sz="6600" dirty="0"/>
              <a:t>Custom Vision Overview</a:t>
            </a:r>
          </a:p>
        </p:txBody>
      </p:sp>
    </p:spTree>
    <p:custDataLst>
      <p:tags r:id="rId1"/>
    </p:custDataLst>
    <p:extLst>
      <p:ext uri="{BB962C8B-B14F-4D97-AF65-F5344CB8AC3E}">
        <p14:creationId xmlns:p14="http://schemas.microsoft.com/office/powerpoint/2010/main" val="1878374378"/>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809711"/>
            <a:ext cx="5699830" cy="861692"/>
          </a:xfrm>
        </p:spPr>
        <p:txBody>
          <a:bodyPr vert="horz" wrap="square" lIns="146283" tIns="91428" rIns="146283" bIns="91428" numCol="1" rtlCol="0" anchor="t" anchorCtr="0" compatLnSpc="1">
            <a:prstTxWarp prst="textNoShape">
              <a:avLst/>
            </a:prstTxWarp>
            <a:noAutofit/>
          </a:bodyPr>
          <a:lstStyle/>
          <a:p>
            <a:pPr algn="l"/>
            <a:r>
              <a:rPr lang="en-US" sz="4399" dirty="0">
                <a:solidFill>
                  <a:schemeClr val="tx1">
                    <a:lumMod val="75000"/>
                  </a:schemeClr>
                </a:solidFill>
              </a:rPr>
              <a:t>What is Custom Vision</a:t>
            </a:r>
            <a:endParaRPr lang="en-US" sz="4399" dirty="0">
              <a:solidFill>
                <a:srgbClr val="00B050"/>
              </a:solidFill>
            </a:endParaRPr>
          </a:p>
        </p:txBody>
      </p:sp>
      <p:sp>
        <p:nvSpPr>
          <p:cNvPr id="5" name="Rectangle 4">
            <a:extLst>
              <a:ext uri="{FF2B5EF4-FFF2-40B4-BE49-F238E27FC236}">
                <a16:creationId xmlns:a16="http://schemas.microsoft.com/office/drawing/2014/main" id="{B7E00651-8FD1-4823-84F5-360DA2EA629C}"/>
              </a:ext>
            </a:extLst>
          </p:cNvPr>
          <p:cNvSpPr/>
          <p:nvPr/>
        </p:nvSpPr>
        <p:spPr>
          <a:xfrm>
            <a:off x="8013928" y="1896256"/>
            <a:ext cx="3887630" cy="4524315"/>
          </a:xfrm>
          <a:prstGeom prst="rect">
            <a:avLst/>
          </a:prstGeom>
        </p:spPr>
        <p:txBody>
          <a:bodyPr wrap="square">
            <a:spAutoFit/>
          </a:bodyPr>
          <a:lstStyle/>
          <a:p>
            <a:r>
              <a:rPr lang="en-GB" dirty="0"/>
              <a:t>Tool for building custom image classifiers.</a:t>
            </a:r>
          </a:p>
          <a:p>
            <a:endParaRPr lang="en-GB" dirty="0"/>
          </a:p>
          <a:p>
            <a:r>
              <a:rPr lang="en-GB" dirty="0"/>
              <a:t>REST API and a web interface provided to upload your images and train.</a:t>
            </a:r>
          </a:p>
          <a:p>
            <a:endParaRPr lang="en-GB" dirty="0"/>
          </a:p>
          <a:p>
            <a:r>
              <a:rPr lang="en-GB" dirty="0"/>
              <a:t>Very few images are required to create a classifier – 30 should be enough.</a:t>
            </a:r>
          </a:p>
          <a:p>
            <a:endParaRPr lang="en-GB" dirty="0"/>
          </a:p>
          <a:p>
            <a:r>
              <a:rPr lang="en-GB" dirty="0"/>
              <a:t>Object detection included with training.</a:t>
            </a:r>
          </a:p>
          <a:p>
            <a:endParaRPr lang="en-GB" dirty="0"/>
          </a:p>
          <a:p>
            <a:r>
              <a:rPr lang="en-GB" dirty="0"/>
              <a:t>The quality of your classifier will improve over time</a:t>
            </a:r>
          </a:p>
        </p:txBody>
      </p:sp>
      <p:pic>
        <p:nvPicPr>
          <p:cNvPr id="8" name="Picture 7">
            <a:extLst>
              <a:ext uri="{FF2B5EF4-FFF2-40B4-BE49-F238E27FC236}">
                <a16:creationId xmlns:a16="http://schemas.microsoft.com/office/drawing/2014/main" id="{0191E18A-1D1B-47C7-9186-E1B10FF892D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408998" y="1970871"/>
            <a:ext cx="3887630" cy="2186792"/>
          </a:xfrm>
          <a:prstGeom prst="rect">
            <a:avLst/>
          </a:prstGeom>
        </p:spPr>
      </p:pic>
      <p:pic>
        <p:nvPicPr>
          <p:cNvPr id="6" name="Picture 5">
            <a:extLst>
              <a:ext uri="{FF2B5EF4-FFF2-40B4-BE49-F238E27FC236}">
                <a16:creationId xmlns:a16="http://schemas.microsoft.com/office/drawing/2014/main" id="{25599961-653B-417D-9DA2-57114CC5D95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34917" y="1896256"/>
            <a:ext cx="2679771" cy="3926536"/>
          </a:xfrm>
          <a:prstGeom prst="rect">
            <a:avLst/>
          </a:prstGeom>
        </p:spPr>
      </p:pic>
      <p:sp>
        <p:nvSpPr>
          <p:cNvPr id="9" name="TextBox 8">
            <a:extLst>
              <a:ext uri="{FF2B5EF4-FFF2-40B4-BE49-F238E27FC236}">
                <a16:creationId xmlns:a16="http://schemas.microsoft.com/office/drawing/2014/main" id="{7BDCE6EB-0646-49EB-9713-BC434F4D7C3F}"/>
              </a:ext>
            </a:extLst>
          </p:cNvPr>
          <p:cNvSpPr txBox="1"/>
          <p:nvPr/>
        </p:nvSpPr>
        <p:spPr>
          <a:xfrm>
            <a:off x="534917" y="5975190"/>
            <a:ext cx="2561727" cy="627864"/>
          </a:xfrm>
          <a:prstGeom prst="rect">
            <a:avLst/>
          </a:prstGeom>
          <a:noFill/>
        </p:spPr>
        <p:txBody>
          <a:bodyPr wrap="none" lIns="182880" tIns="146304" rIns="182880" bIns="146304" rtlCol="0">
            <a:spAutoFit/>
          </a:bodyPr>
          <a:lstStyle/>
          <a:p>
            <a:pPr>
              <a:lnSpc>
                <a:spcPct val="90000"/>
              </a:lnSpc>
              <a:spcAft>
                <a:spcPts val="600"/>
              </a:spcAft>
            </a:pPr>
            <a:r>
              <a:rPr lang="en-GB" sz="2400" dirty="0">
                <a:gradFill>
                  <a:gsLst>
                    <a:gs pos="2917">
                      <a:schemeClr val="tx1"/>
                    </a:gs>
                    <a:gs pos="30000">
                      <a:schemeClr val="tx1"/>
                    </a:gs>
                  </a:gsLst>
                  <a:lin ang="5400000" scaled="0"/>
                </a:gradFill>
              </a:rPr>
              <a:t>Classifier: Guitar</a:t>
            </a:r>
          </a:p>
        </p:txBody>
      </p:sp>
      <p:sp>
        <p:nvSpPr>
          <p:cNvPr id="10" name="TextBox 9">
            <a:extLst>
              <a:ext uri="{FF2B5EF4-FFF2-40B4-BE49-F238E27FC236}">
                <a16:creationId xmlns:a16="http://schemas.microsoft.com/office/drawing/2014/main" id="{56E41A71-F4C5-47F9-9442-FFFA882FD8F4}"/>
              </a:ext>
            </a:extLst>
          </p:cNvPr>
          <p:cNvSpPr txBox="1"/>
          <p:nvPr/>
        </p:nvSpPr>
        <p:spPr>
          <a:xfrm>
            <a:off x="4002017" y="4167629"/>
            <a:ext cx="2375779" cy="627864"/>
          </a:xfrm>
          <a:prstGeom prst="rect">
            <a:avLst/>
          </a:prstGeom>
          <a:noFill/>
        </p:spPr>
        <p:txBody>
          <a:bodyPr wrap="none" lIns="182880" tIns="146304" rIns="182880" bIns="146304" rtlCol="0">
            <a:spAutoFit/>
          </a:bodyPr>
          <a:lstStyle/>
          <a:p>
            <a:pPr>
              <a:lnSpc>
                <a:spcPct val="90000"/>
              </a:lnSpc>
              <a:spcAft>
                <a:spcPts val="600"/>
              </a:spcAft>
            </a:pPr>
            <a:r>
              <a:rPr lang="en-GB" sz="2400" dirty="0">
                <a:gradFill>
                  <a:gsLst>
                    <a:gs pos="2917">
                      <a:schemeClr val="tx1"/>
                    </a:gs>
                    <a:gs pos="30000">
                      <a:schemeClr val="tx1"/>
                    </a:gs>
                  </a:gsLst>
                  <a:lin ang="5400000" scaled="0"/>
                </a:gradFill>
              </a:rPr>
              <a:t>Classifier: Amp</a:t>
            </a:r>
          </a:p>
        </p:txBody>
      </p:sp>
    </p:spTree>
    <p:custDataLst>
      <p:tags r:id="rId1"/>
    </p:custDataLst>
    <p:extLst>
      <p:ext uri="{BB962C8B-B14F-4D97-AF65-F5344CB8AC3E}">
        <p14:creationId xmlns:p14="http://schemas.microsoft.com/office/powerpoint/2010/main" val="2409016715"/>
      </p:ext>
    </p:extLst>
  </p:cSld>
  <p:clrMapOvr>
    <a:masterClrMapping/>
  </p:clrMapOvr>
  <p:transition spd="slow">
    <p:wipe/>
  </p:transition>
</p:sld>
</file>

<file path=ppt/tags/tag1.xml><?xml version="1.0" encoding="utf-8"?>
<p:tagLst xmlns:a="http://schemas.openxmlformats.org/drawingml/2006/main" xmlns:r="http://schemas.openxmlformats.org/officeDocument/2006/relationships" xmlns:p="http://schemas.openxmlformats.org/presentationml/2006/main">
  <p:tag name="__MICROSOFT_TRANSLATOR_CLM_PRESENTATIONINFO" val="{&quot;DocumentId&quot;:&quot;4e7c9913bee06b39a38e17405bb3587d&quot;,&quot;LanguageCode&quot;:&quot;en-US&quot;,&quot;SlideGuids&quot;:[&quot;75079180-5f4a-491d-ae05-9ca7777976d4&quot;,&quot;abca8139-9706-4417-a408-dcbc12d96cda&quot;,&quot;ee758e03-cf2a-47e3-9b98-a7d722ac842a&quot;,&quot;aa5601a4-9fea-48f8-9f2b-49a739fd4e7b&quot;,&quot;e9993d97-2b9e-440e-bdc9-e4e078095bf9&quot;,&quot;be939851-cca6-457e-9d73-47c268757c04&quot;,&quot;b7681036-608a-48a4-9a23-163ef4866704&quot;,&quot;8555e932-7331-40c8-a674-ae411d164c10&quot;,&quot;c26c8907-5b64-400e-99b4-93ffe32218bf&quot;,&quot;223b2290-bcc4-4929-8f1a-a9a3e36e1a0a&quot;,&quot;3ad827ae-a449-49fe-a1e9-19a342fd98f5&quot;,&quot;865a5f0b-75de-4750-b8de-b27348cb60e6&quot;,&quot;15490ce9-0ff8-48f4-b079-234df8ddadc4&quot;,&quot;2dcf6a47-5a4b-4636-9710-f61813cd2fb9&quot;,&quot;22dd7475-8ce3-4558-b646-701827d018a9&quot;,&quot;bfefe247-3713-42d9-9be6-928c8cdd5cdf&quot;,&quot;12fff362-025f-4ccd-a21a-1910486706c1&quot;,&quot;ccc17231-bb59-4718-9e9b-498cd273fc7f&quot;,&quot;8fcbce92-f11e-4cc3-aa42-e03857a174a2&quot;,&quot;95e20106-3b27-470d-9558-3338be69bb7d&quot;,&quot;290f0c38-5a8f-47d7-af71-ad4ca64c68f3&quot;,&quot;7987f2ec-6b49-4201-b66d-feb4313e4077&quot;,&quot;47773078-d769-4437-9cdd-04a5ffa48cfe&quot;,&quot;d27f3f8d-9f45-4230-bd32-ad30198eaccf&quot;,&quot;ecdf189a-8ca7-4771-a905-a28816f747ef&quot;,&quot;7964778c-709d-4c93-9eff-2cdb844a828d&quot;,&quot;3dde53ff-fb3c-4ac1-a8e9-c80dc9b73597&quot;,&quot;64667cbb-b275-4507-94d6-f49ab962216c&quot;,&quot;d31468a1-e6d5-4ba5-841e-8b22553d89d2&quot;,&quot;c5c59714-02e8-428e-97b9-46d3e24c3eaf&quot;,&quot;96a12e6f-cc32-459f-928b-e3eab6a1b4f7&quot;,&quot;5279fb95-eb1b-41b4-a8e7-f455b57ca71f&quot;,&quot;80994782-423b-4089-9a43-404f437d8a90&quot;,&quot;fc132fa0-e9f6-4f47-be06-94a940e61611&quot;,&quot;9c6ac8c4-ae76-42c2-aa59-9445e35efd8e&quot;,&quot;1074cf49-1a2c-46ad-9374-8e8f980f205e&quot;,&quot;312febbe-4b59-4b14-a3f0-fde42bac8e70&quot;,&quot;d037cc73-c691-41d1-9d3d-82e2f71368cd&quot;],&quot;TimeStamp&quot;:&quot;2018-03-14T09:22:03.3003284+00:00&quot;}"/>
</p:tagLst>
</file>

<file path=ppt/tags/tag10.xml><?xml version="1.0" encoding="utf-8"?>
<p:tagLst xmlns:a="http://schemas.openxmlformats.org/drawingml/2006/main" xmlns:r="http://schemas.openxmlformats.org/officeDocument/2006/relationships" xmlns:p="http://schemas.openxmlformats.org/presentationml/2006/main">
  <p:tag name="__MICROSOFT_TRANSLATOR_CLM_SLIDEINFO" val="{&quot;Guid&quot;:&quot;8555e932-7331-40c8-a674-ae411d164c10&quot;,&quot;TimeStamp&quot;:&quot;2018-01-15T08:38:45.2839019+05:30&quot;}"/>
</p:tagLst>
</file>

<file path=ppt/tags/tag11.xml><?xml version="1.0" encoding="utf-8"?>
<p:tagLst xmlns:a="http://schemas.openxmlformats.org/drawingml/2006/main" xmlns:r="http://schemas.openxmlformats.org/officeDocument/2006/relationships" xmlns:p="http://schemas.openxmlformats.org/presentationml/2006/main">
  <p:tag name="__MICROSOFT_TRANSLATOR_CLM_SLIDEINFO" val="{&quot;Guid&quot;:&quot;c26c8907-5b64-400e-99b4-93ffe32218bf&quot;,&quot;TimeStamp&quot;:&quot;2018-01-15T08:38:45.2839019+05:30&quot;}"/>
</p:tagLst>
</file>

<file path=ppt/tags/tag12.xml><?xml version="1.0" encoding="utf-8"?>
<p:tagLst xmlns:a="http://schemas.openxmlformats.org/drawingml/2006/main" xmlns:r="http://schemas.openxmlformats.org/officeDocument/2006/relationships" xmlns:p="http://schemas.openxmlformats.org/presentationml/2006/main">
  <p:tag name="__MICROSOFT_TRANSLATOR_CLM_SLIDEINFO" val="{&quot;Guid&quot;:&quot;223b2290-bcc4-4929-8f1a-a9a3e36e1a0a&quot;,&quot;TimeStamp&quot;:&quot;2018-01-15T08:38:45.2839019+05:30&quot;}"/>
</p:tagLst>
</file>

<file path=ppt/tags/tag13.xml><?xml version="1.0" encoding="utf-8"?>
<p:tagLst xmlns:a="http://schemas.openxmlformats.org/drawingml/2006/main" xmlns:r="http://schemas.openxmlformats.org/officeDocument/2006/relationships" xmlns:p="http://schemas.openxmlformats.org/presentationml/2006/main">
  <p:tag name="__MICROSOFT_TRANSLATOR_CLM_SLIDEINFO" val="{&quot;Guid&quot;:&quot;3ad827ae-a449-49fe-a1e9-19a342fd98f5&quot;,&quot;TimeStamp&quot;:&quot;2018-01-15T08:38:45.2839019+05:30&quot;}"/>
</p:tagLst>
</file>

<file path=ppt/tags/tag14.xml><?xml version="1.0" encoding="utf-8"?>
<p:tagLst xmlns:a="http://schemas.openxmlformats.org/drawingml/2006/main" xmlns:r="http://schemas.openxmlformats.org/officeDocument/2006/relationships" xmlns:p="http://schemas.openxmlformats.org/presentationml/2006/main">
  <p:tag name="__MICROSOFT_TRANSLATOR_CLM_SLIDEINFO" val="{&quot;Guid&quot;:&quot;865a5f0b-75de-4750-b8de-b27348cb60e6&quot;,&quot;TimeStamp&quot;:&quot;2018-01-15T08:38:45.2843979+05:30&quot;}"/>
</p:tagLst>
</file>

<file path=ppt/tags/tag15.xml><?xml version="1.0" encoding="utf-8"?>
<p:tagLst xmlns:a="http://schemas.openxmlformats.org/drawingml/2006/main" xmlns:r="http://schemas.openxmlformats.org/officeDocument/2006/relationships" xmlns:p="http://schemas.openxmlformats.org/presentationml/2006/main">
  <p:tag name="__MICROSOFT_TRANSLATOR_CLM_SLIDEINFO" val="{&quot;Guid&quot;:&quot;15490ce9-0ff8-48f4-b079-234df8ddadc4&quot;,&quot;TimeStamp&quot;:&quot;2018-01-15T08:38:45.2843979+05:30&quot;}"/>
</p:tagLst>
</file>

<file path=ppt/tags/tag16.xml><?xml version="1.0" encoding="utf-8"?>
<p:tagLst xmlns:a="http://schemas.openxmlformats.org/drawingml/2006/main" xmlns:r="http://schemas.openxmlformats.org/officeDocument/2006/relationships" xmlns:p="http://schemas.openxmlformats.org/presentationml/2006/main">
  <p:tag name="__MICROSOFT_TRANSLATOR_CLM_SLIDEINFO" val="{&quot;Guid&quot;:&quot;2dcf6a47-5a4b-4636-9710-f61813cd2fb9&quot;,&quot;TimeStamp&quot;:&quot;2018-01-15T08:38:45.2843979+05:30&quot;}"/>
</p:tagLst>
</file>

<file path=ppt/tags/tag17.xml><?xml version="1.0" encoding="utf-8"?>
<p:tagLst xmlns:a="http://schemas.openxmlformats.org/drawingml/2006/main" xmlns:r="http://schemas.openxmlformats.org/officeDocument/2006/relationships" xmlns:p="http://schemas.openxmlformats.org/presentationml/2006/main">
  <p:tag name="__MICROSOFT_TRANSLATOR_CLM_SLIDEINFO" val="{&quot;Guid&quot;:&quot;22dd7475-8ce3-4558-b646-701827d018a9&quot;,&quot;TimeStamp&quot;:&quot;2018-01-15T08:38:45.2843979+05:30&quot;}"/>
</p:tagLst>
</file>

<file path=ppt/tags/tag18.xml><?xml version="1.0" encoding="utf-8"?>
<p:tagLst xmlns:a="http://schemas.openxmlformats.org/drawingml/2006/main" xmlns:r="http://schemas.openxmlformats.org/officeDocument/2006/relationships" xmlns:p="http://schemas.openxmlformats.org/presentationml/2006/main">
  <p:tag name="__MICROSOFT_TRANSLATOR_CLM_SLIDEINFO" val="{&quot;Guid&quot;:&quot;bfefe247-3713-42d9-9be6-928c8cdd5cdf&quot;,&quot;TimeStamp&quot;:&quot;2018-01-15T08:38:45.2843979+05:30&quot;}"/>
</p:tagLst>
</file>

<file path=ppt/tags/tag19.xml><?xml version="1.0" encoding="utf-8"?>
<p:tagLst xmlns:a="http://schemas.openxmlformats.org/drawingml/2006/main" xmlns:r="http://schemas.openxmlformats.org/officeDocument/2006/relationships" xmlns:p="http://schemas.openxmlformats.org/presentationml/2006/main">
  <p:tag name="__MICROSOFT_TRANSLATOR_CLM_SLIDEINFO" val="{&quot;Guid&quot;:&quot;12fff362-025f-4ccd-a21a-1910486706c1&quot;,&quot;TimeStamp&quot;:&quot;2018-01-15T08:38:45.2843979+05:30&quo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__MICROSOFT_TRANSLATOR_CLM_SLIDEINFO" val="{&quot;Guid&quot;:&quot;ccc17231-bb59-4718-9e9b-498cd273fc7f&quot;,&quot;TimeStamp&quot;:&quot;2018-01-15T08:38:45.2843979+05:30&quot;}"/>
</p:tagLst>
</file>

<file path=ppt/tags/tag21.xml><?xml version="1.0" encoding="utf-8"?>
<p:tagLst xmlns:a="http://schemas.openxmlformats.org/drawingml/2006/main" xmlns:r="http://schemas.openxmlformats.org/officeDocument/2006/relationships" xmlns:p="http://schemas.openxmlformats.org/presentationml/2006/main">
  <p:tag name="__MICROSOFT_TRANSLATOR_CLM_SLIDEINFO" val="{&quot;Guid&quot;:&quot;8fcbce92-f11e-4cc3-aa42-e03857a174a2&quot;,&quot;TimeStamp&quot;:&quot;2018-01-15T08:38:45.2848964+05:30&quot;}"/>
</p:tagLst>
</file>

<file path=ppt/tags/tag22.xml><?xml version="1.0" encoding="utf-8"?>
<p:tagLst xmlns:a="http://schemas.openxmlformats.org/drawingml/2006/main" xmlns:r="http://schemas.openxmlformats.org/officeDocument/2006/relationships" xmlns:p="http://schemas.openxmlformats.org/presentationml/2006/main">
  <p:tag name="__MICROSOFT_TRANSLATOR_CLM_SLIDEINFO" val="{&quot;Guid&quot;:&quot;95e20106-3b27-470d-9558-3338be69bb7d&quot;,&quot;TimeStamp&quot;:&quot;2018-01-15T08:38:45.2848964+05:30&quot;}"/>
</p:tagLst>
</file>

<file path=ppt/tags/tag23.xml><?xml version="1.0" encoding="utf-8"?>
<p:tagLst xmlns:a="http://schemas.openxmlformats.org/drawingml/2006/main" xmlns:r="http://schemas.openxmlformats.org/officeDocument/2006/relationships" xmlns:p="http://schemas.openxmlformats.org/presentationml/2006/main">
  <p:tag name="__MICROSOFT_TRANSLATOR_CLM_SLIDEINFO" val="{&quot;Guid&quot;:&quot;290f0c38-5a8f-47d7-af71-ad4ca64c68f3&quot;,&quot;TimeStamp&quot;:&quot;2018-01-15T08:38:45.2848964+05:30&quot;}"/>
</p:tagLst>
</file>

<file path=ppt/tags/tag24.xml><?xml version="1.0" encoding="utf-8"?>
<p:tagLst xmlns:a="http://schemas.openxmlformats.org/drawingml/2006/main" xmlns:r="http://schemas.openxmlformats.org/officeDocument/2006/relationships" xmlns:p="http://schemas.openxmlformats.org/presentationml/2006/main">
  <p:tag name="__MICROSOFT_TRANSLATOR_CLM_SLIDEINFO" val="{&quot;Guid&quot;:&quot;7987f2ec-6b49-4201-b66d-feb4313e4077&quot;,&quot;TimeStamp&quot;:&quot;2018-01-15T08:38:45.2848964+05:30&quot;}"/>
</p:tagLst>
</file>

<file path=ppt/tags/tag25.xml><?xml version="1.0" encoding="utf-8"?>
<p:tagLst xmlns:a="http://schemas.openxmlformats.org/drawingml/2006/main" xmlns:r="http://schemas.openxmlformats.org/officeDocument/2006/relationships" xmlns:p="http://schemas.openxmlformats.org/presentationml/2006/main">
  <p:tag name="__MICROSOFT_TRANSLATOR_CLM_SLIDEINFO" val="{&quot;Guid&quot;:&quot;47773078-d769-4437-9cdd-04a5ffa48cfe&quot;,&quot;TimeStamp&quot;:&quot;2018-01-15T08:38:45.2848964+05:30&quot;}"/>
</p:tagLst>
</file>

<file path=ppt/tags/tag26.xml><?xml version="1.0" encoding="utf-8"?>
<p:tagLst xmlns:a="http://schemas.openxmlformats.org/drawingml/2006/main" xmlns:r="http://schemas.openxmlformats.org/officeDocument/2006/relationships" xmlns:p="http://schemas.openxmlformats.org/presentationml/2006/main">
  <p:tag name="__MICROSOFT_TRANSLATOR_CLM_SLIDEINFO" val="{&quot;Guid&quot;:&quot;d27f3f8d-9f45-4230-bd32-ad30198eaccf&quot;,&quot;TimeStamp&quot;:&quot;2018-01-15T08:38:45.2848964+05:30&quot;}"/>
</p:tagLst>
</file>

<file path=ppt/tags/tag27.xml><?xml version="1.0" encoding="utf-8"?>
<p:tagLst xmlns:a="http://schemas.openxmlformats.org/drawingml/2006/main" xmlns:r="http://schemas.openxmlformats.org/officeDocument/2006/relationships" xmlns:p="http://schemas.openxmlformats.org/presentationml/2006/main">
  <p:tag name="__MICROSOFT_TRANSLATOR_CLM_SLIDEINFO" val="{&quot;Guid&quot;:&quot;ecdf189a-8ca7-4771-a905-a28816f747ef&quot;,&quot;TimeStamp&quot;:&quot;2018-01-15T08:38:45.2848964+05:30&quot;}"/>
</p:tagLst>
</file>

<file path=ppt/tags/tag28.xml><?xml version="1.0" encoding="utf-8"?>
<p:tagLst xmlns:a="http://schemas.openxmlformats.org/drawingml/2006/main" xmlns:r="http://schemas.openxmlformats.org/officeDocument/2006/relationships" xmlns:p="http://schemas.openxmlformats.org/presentationml/2006/main">
  <p:tag name="__MICROSOFT_TRANSLATOR_CLM_SLIDEINFO" val="{&quot;Guid&quot;:&quot;7964778c-709d-4c93-9eff-2cdb844a828d&quot;,&quot;TimeStamp&quot;:&quot;2018-01-15T08:38:45.2853964+05:30&quot;}"/>
</p:tagLst>
</file>

<file path=ppt/tags/tag29.xml><?xml version="1.0" encoding="utf-8"?>
<p:tagLst xmlns:a="http://schemas.openxmlformats.org/drawingml/2006/main" xmlns:r="http://schemas.openxmlformats.org/officeDocument/2006/relationships" xmlns:p="http://schemas.openxmlformats.org/presentationml/2006/main">
  <p:tag name="__MICROSOFT_TRANSLATOR_CLM_SLIDEINFO" val="{&quot;Guid&quot;:&quot;3dde53ff-fb3c-4ac1-a8e9-c80dc9b73597&quot;,&quot;TimeStamp&quot;:&quot;2018-01-15T08:38:45.2853964+05:30&quot;}"/>
</p:tagLst>
</file>

<file path=ppt/tags/tag3.xml><?xml version="1.0" encoding="utf-8"?>
<p:tagLst xmlns:a="http://schemas.openxmlformats.org/drawingml/2006/main" xmlns:r="http://schemas.openxmlformats.org/officeDocument/2006/relationships" xmlns:p="http://schemas.openxmlformats.org/presentationml/2006/main">
  <p:tag name="__MICROSOFT_TRANSLATOR_CLM_SLIDEINFO" val="{&quot;Guid&quot;:&quot;75079180-5f4a-491d-ae05-9ca7777976d4&quot;,&quot;TimeStamp&quot;:&quot;2018-01-15T08:38:45.2568363+05:30&quot;}"/>
</p:tagLst>
</file>

<file path=ppt/tags/tag30.xml><?xml version="1.0" encoding="utf-8"?>
<p:tagLst xmlns:a="http://schemas.openxmlformats.org/drawingml/2006/main" xmlns:r="http://schemas.openxmlformats.org/officeDocument/2006/relationships" xmlns:p="http://schemas.openxmlformats.org/presentationml/2006/main">
  <p:tag name="__MICROSOFT_TRANSLATOR_CLM_SLIDEINFO" val="{&quot;Guid&quot;:&quot;64667cbb-b275-4507-94d6-f49ab962216c&quot;,&quot;TimeStamp&quot;:&quot;2018-01-15T08:38:45.2853964+05:30&quot;}"/>
</p:tagLst>
</file>

<file path=ppt/tags/tag31.xml><?xml version="1.0" encoding="utf-8"?>
<p:tagLst xmlns:a="http://schemas.openxmlformats.org/drawingml/2006/main" xmlns:r="http://schemas.openxmlformats.org/officeDocument/2006/relationships" xmlns:p="http://schemas.openxmlformats.org/presentationml/2006/main">
  <p:tag name="__MICROSOFT_TRANSLATOR_CLM_SLIDEINFO" val="{&quot;Guid&quot;:&quot;3dde53ff-fb3c-4ac1-a8e9-c80dc9b73597&quot;,&quot;TimeStamp&quot;:&quot;2018-01-15T08:38:45.2853964+05:30&quot;}"/>
</p:tagLst>
</file>

<file path=ppt/tags/tag32.xml><?xml version="1.0" encoding="utf-8"?>
<p:tagLst xmlns:a="http://schemas.openxmlformats.org/drawingml/2006/main" xmlns:r="http://schemas.openxmlformats.org/officeDocument/2006/relationships" xmlns:p="http://schemas.openxmlformats.org/presentationml/2006/main">
  <p:tag name="__MICROSOFT_TRANSLATOR_CLM_SLIDEINFO" val="{&quot;Guid&quot;:&quot;d31468a1-e6d5-4ba5-841e-8b22553d89d2&quot;,&quot;TimeStamp&quot;:&quot;2018-03-05T11:08:33.6306002+00:00&quot;}"/>
</p:tagLst>
</file>

<file path=ppt/tags/tag33.xml><?xml version="1.0" encoding="utf-8"?>
<p:tagLst xmlns:a="http://schemas.openxmlformats.org/drawingml/2006/main" xmlns:r="http://schemas.openxmlformats.org/officeDocument/2006/relationships" xmlns:p="http://schemas.openxmlformats.org/presentationml/2006/main">
  <p:tag name="__MICROSOFT_TRANSLATOR_CLM_SLIDEINFO" val="{&quot;Guid&quot;:&quot;c5c59714-02e8-428e-97b9-46d3e24c3eaf&quot;,&quot;TimeStamp&quot;:&quot;2018-01-15T08:38:45.2853964+05:30&quot;}"/>
</p:tagLst>
</file>

<file path=ppt/tags/tag34.xml><?xml version="1.0" encoding="utf-8"?>
<p:tagLst xmlns:a="http://schemas.openxmlformats.org/drawingml/2006/main" xmlns:r="http://schemas.openxmlformats.org/officeDocument/2006/relationships" xmlns:p="http://schemas.openxmlformats.org/presentationml/2006/main">
  <p:tag name="__MICROSOFT_TRANSLATOR_CLM_SLIDEINFO" val="{&quot;Guid&quot;:&quot;96a12e6f-cc32-459f-928b-e3eab6a1b4f7&quot;,&quot;TimeStamp&quot;:&quot;2018-01-15T08:38:45.2853964+05:30&quot;}"/>
</p:tagLst>
</file>

<file path=ppt/tags/tag35.xml><?xml version="1.0" encoding="utf-8"?>
<p:tagLst xmlns:a="http://schemas.openxmlformats.org/drawingml/2006/main" xmlns:r="http://schemas.openxmlformats.org/officeDocument/2006/relationships" xmlns:p="http://schemas.openxmlformats.org/presentationml/2006/main">
  <p:tag name="__MICROSOFT_TRANSLATOR_CLM_SLIDEINFO" val="{&quot;Guid&quot;:&quot;5279fb95-eb1b-41b4-a8e7-f455b57ca71f&quot;,&quot;TimeStamp&quot;:&quot;2018-01-15T08:38:45.2853964+05:30&quot;}"/>
</p:tagLst>
</file>

<file path=ppt/tags/tag36.xml><?xml version="1.0" encoding="utf-8"?>
<p:tagLst xmlns:a="http://schemas.openxmlformats.org/drawingml/2006/main" xmlns:r="http://schemas.openxmlformats.org/officeDocument/2006/relationships" xmlns:p="http://schemas.openxmlformats.org/presentationml/2006/main">
  <p:tag name="TIMING" val="|0.7"/>
  <p:tag name="__MICROSOFT_TRANSLATOR_CLM_SLIDEINFO" val="{&quot;Guid&quot;:&quot;80994782-423b-4089-9a43-404f437d8a90&quot;,&quot;TimeStamp&quot;:&quot;2018-01-15T08:38:45.2853964+05:30&quot;}"/>
</p:tagLst>
</file>

<file path=ppt/tags/tag37.xml><?xml version="1.0" encoding="utf-8"?>
<p:tagLst xmlns:a="http://schemas.openxmlformats.org/drawingml/2006/main" xmlns:r="http://schemas.openxmlformats.org/officeDocument/2006/relationships" xmlns:p="http://schemas.openxmlformats.org/presentationml/2006/main">
  <p:tag name="__MICROSOFT_TRANSLATOR_CLM_SLIDEINFO" val="{&quot;Guid&quot;:&quot;fc132fa0-e9f6-4f47-be06-94a940e61611&quot;,&quot;TimeStamp&quot;:&quot;2018-01-15T08:38:45.2853964+05:30&quot;}"/>
</p:tagLst>
</file>

<file path=ppt/tags/tag38.xml><?xml version="1.0" encoding="utf-8"?>
<p:tagLst xmlns:a="http://schemas.openxmlformats.org/drawingml/2006/main" xmlns:r="http://schemas.openxmlformats.org/officeDocument/2006/relationships" xmlns:p="http://schemas.openxmlformats.org/presentationml/2006/main">
  <p:tag name="__MICROSOFT_TRANSLATOR_CLM_SLIDEINFO" val="{&quot;Guid&quot;:&quot;9c6ac8c4-ae76-42c2-aa59-9445e35efd8e&quot;,&quot;TimeStamp&quot;:&quot;2018-01-15T08:38:45.2858971+05:30&quot;}"/>
</p:tagLst>
</file>

<file path=ppt/tags/tag39.xml><?xml version="1.0" encoding="utf-8"?>
<p:tagLst xmlns:a="http://schemas.openxmlformats.org/drawingml/2006/main" xmlns:r="http://schemas.openxmlformats.org/officeDocument/2006/relationships" xmlns:p="http://schemas.openxmlformats.org/presentationml/2006/main">
  <p:tag name="__MICROSOFT_TRANSLATOR_CLM_SLIDEINFO" val="{&quot;Guid&quot;:&quot;1074cf49-1a2c-46ad-9374-8e8f980f205e&quot;,&quot;TimeStamp&quot;:&quot;2018-01-15T08:38:45.2858971+05:30&quot;}"/>
</p:tagLst>
</file>

<file path=ppt/tags/tag4.xml><?xml version="1.0" encoding="utf-8"?>
<p:tagLst xmlns:a="http://schemas.openxmlformats.org/drawingml/2006/main" xmlns:r="http://schemas.openxmlformats.org/officeDocument/2006/relationships" xmlns:p="http://schemas.openxmlformats.org/presentationml/2006/main">
  <p:tag name="__MICROSOFT_TRANSLATOR_CLM_SLIDEINFO" val="{&quot;Guid&quot;:&quot;abca8139-9706-4417-a408-dcbc12d96cda&quot;,&quot;TimeStamp&quot;:&quot;2018-01-15T08:38:45.2648354+05:30&quot;}"/>
</p:tagLst>
</file>

<file path=ppt/tags/tag40.xml><?xml version="1.0" encoding="utf-8"?>
<p:tagLst xmlns:a="http://schemas.openxmlformats.org/drawingml/2006/main" xmlns:r="http://schemas.openxmlformats.org/officeDocument/2006/relationships" xmlns:p="http://schemas.openxmlformats.org/presentationml/2006/main">
  <p:tag name="__MICROSOFT_TRANSLATOR_CLM_SLIDEINFO" val="{&quot;Guid&quot;:&quot;312febbe-4b59-4b14-a3f0-fde42bac8e70&quot;,&quot;TimeStamp&quot;:&quot;2018-01-15T08:38:45.2858971+05:30&quot;}"/>
</p:tagLst>
</file>

<file path=ppt/tags/tag41.xml><?xml version="1.0" encoding="utf-8"?>
<p:tagLst xmlns:a="http://schemas.openxmlformats.org/drawingml/2006/main" xmlns:r="http://schemas.openxmlformats.org/officeDocument/2006/relationships" xmlns:p="http://schemas.openxmlformats.org/presentationml/2006/main">
  <p:tag name="__MICROSOFT_TRANSLATOR_CLM_SLIDEINFO" val="{&quot;Guid&quot;:&quot;d037cc73-c691-41d1-9d3d-82e2f71368cd&quot;,&quot;TimeStamp&quot;:&quot;2018-01-15T08:38:45.2858971+05:30&quot;}"/>
</p:tagLst>
</file>

<file path=ppt/tags/tag5.xml><?xml version="1.0" encoding="utf-8"?>
<p:tagLst xmlns:a="http://schemas.openxmlformats.org/drawingml/2006/main" xmlns:r="http://schemas.openxmlformats.org/officeDocument/2006/relationships" xmlns:p="http://schemas.openxmlformats.org/presentationml/2006/main">
  <p:tag name="__MICROSOFT_TRANSLATOR_CLM_SLIDEINFO" val="{&quot;Guid&quot;:&quot;ee758e03-cf2a-47e3-9b98-a7d722ac842a&quot;,&quot;TimeStamp&quot;:&quot;2018-01-15T08:38:45.2648354+05:30&quot;}"/>
</p:tagLst>
</file>

<file path=ppt/tags/tag6.xml><?xml version="1.0" encoding="utf-8"?>
<p:tagLst xmlns:a="http://schemas.openxmlformats.org/drawingml/2006/main" xmlns:r="http://schemas.openxmlformats.org/officeDocument/2006/relationships" xmlns:p="http://schemas.openxmlformats.org/presentationml/2006/main">
  <p:tag name="__MICROSOFT_TRANSLATOR_CLM_SLIDEINFO" val="{&quot;Guid&quot;:&quot;aa5601a4-9fea-48f8-9f2b-49a739fd4e7b&quot;,&quot;TimeStamp&quot;:&quot;2018-01-15T08:38:45.2658386+05:30&quot;}"/>
</p:tagLst>
</file>

<file path=ppt/tags/tag7.xml><?xml version="1.0" encoding="utf-8"?>
<p:tagLst xmlns:a="http://schemas.openxmlformats.org/drawingml/2006/main" xmlns:r="http://schemas.openxmlformats.org/officeDocument/2006/relationships" xmlns:p="http://schemas.openxmlformats.org/presentationml/2006/main">
  <p:tag name="TIMING" val="|0.7"/>
  <p:tag name="__MICROSOFT_TRANSLATOR_CLM_SLIDEINFO" val="{&quot;Guid&quot;:&quot;e9993d97-2b9e-440e-bdc9-e4e078095bf9&quot;,&quot;TimeStamp&quot;:&quot;2018-01-15T08:38:45.2658386+05:30&quot;}"/>
</p:tagLst>
</file>

<file path=ppt/tags/tag8.xml><?xml version="1.0" encoding="utf-8"?>
<p:tagLst xmlns:a="http://schemas.openxmlformats.org/drawingml/2006/main" xmlns:r="http://schemas.openxmlformats.org/officeDocument/2006/relationships" xmlns:p="http://schemas.openxmlformats.org/presentationml/2006/main">
  <p:tag name="__MICROSOFT_TRANSLATOR_CLM_SLIDEINFO" val="{&quot;Guid&quot;:&quot;be939851-cca6-457e-9d73-47c268757c04&quot;,&quot;TimeStamp&quot;:&quot;2018-01-15T08:38:45.2658386+05:30&quot;}"/>
</p:tagLst>
</file>

<file path=ppt/tags/tag9.xml><?xml version="1.0" encoding="utf-8"?>
<p:tagLst xmlns:a="http://schemas.openxmlformats.org/drawingml/2006/main" xmlns:r="http://schemas.openxmlformats.org/officeDocument/2006/relationships" xmlns:p="http://schemas.openxmlformats.org/presentationml/2006/main">
  <p:tag name="__MICROSOFT_TRANSLATOR_CLM_SLIDEINFO" val="{&quot;Guid&quot;:&quot;b7681036-608a-48a4-9a23-163ef4866704&quot;,&quot;TimeStamp&quot;:&quot;2018-01-15T08:38:45.2658386+05:30&quot;}"/>
</p:tagLst>
</file>

<file path=ppt/theme/theme1.xml><?xml version="1.0" encoding="utf-8"?>
<a:theme xmlns:a="http://schemas.openxmlformats.org/drawingml/2006/main" name="COLOR TEMPLATE">
  <a:themeElements>
    <a:clrScheme name="Custom 1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2.xml><?xml version="1.0" encoding="utf-8"?>
<a:theme xmlns:a="http://schemas.openxmlformats.org/drawingml/2006/main" name="1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3.xml><?xml version="1.0" encoding="utf-8"?>
<a:theme xmlns:a="http://schemas.openxmlformats.org/drawingml/2006/main" name="2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4.xml><?xml version="1.0" encoding="utf-8"?>
<a:theme xmlns:a="http://schemas.openxmlformats.org/drawingml/2006/main" name="FY15 Enterprise identity theme">
  <a:themeElements>
    <a:clrScheme name="Custom 30">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505050"/>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5.xml><?xml version="1.0" encoding="utf-8"?>
<a:theme xmlns:a="http://schemas.openxmlformats.org/drawingml/2006/main" name="5-30721_Build_2016_Template_Dark">
  <a:themeElements>
    <a:clrScheme name="Build 2016 Dark">
      <a:dk1>
        <a:srgbClr val="505050"/>
      </a:dk1>
      <a:lt1>
        <a:srgbClr val="FFFFFF"/>
      </a:lt1>
      <a:dk2>
        <a:srgbClr val="0078D7"/>
      </a:dk2>
      <a:lt2>
        <a:srgbClr val="F8F8F8"/>
      </a:lt2>
      <a:accent1>
        <a:srgbClr val="00BCF2"/>
      </a:accent1>
      <a:accent2>
        <a:srgbClr val="0078D7"/>
      </a:accent2>
      <a:accent3>
        <a:srgbClr val="002050"/>
      </a:accent3>
      <a:accent4>
        <a:srgbClr val="D2D2D2"/>
      </a:accent4>
      <a:accent5>
        <a:srgbClr val="737373"/>
      </a:accent5>
      <a:accent6>
        <a:srgbClr val="323232"/>
      </a:accent6>
      <a:hlink>
        <a:srgbClr val="5DDCFF"/>
      </a:hlink>
      <a:folHlink>
        <a:srgbClr val="5DDCFF"/>
      </a:folHlink>
    </a:clrScheme>
    <a:fontScheme name="Custom 2">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6_16x9_Template.potx" id="{2D9F1654-7A66-4699-829C-201E10216A69}" vid="{EE767E89-5D4D-44CA-8070-C9EE1D87F83B}"/>
    </a:ext>
  </a:extLst>
</a:theme>
</file>

<file path=ppt/theme/theme6.xml><?xml version="1.0" encoding="utf-8"?>
<a:theme xmlns:a="http://schemas.openxmlformats.org/drawingml/2006/main" name="2_COLOR TEMPLATE">
  <a:themeElements>
    <a:clrScheme name="Custom 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002050"/>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defTabSz="932472" fontAlgn="base">
          <a:spcBef>
            <a:spcPct val="0"/>
          </a:spcBef>
          <a:spcAft>
            <a:spcPct val="0"/>
          </a:spcAft>
          <a:defRPr sz="2400">
            <a:solidFill>
              <a:schemeClr val="tx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9D79205F35F1AF40BCD07C4F58D4AC80" ma:contentTypeVersion="6" ma:contentTypeDescription="Create a new document." ma:contentTypeScope="" ma:versionID="cf222c2d7767ae9042b0d6c6f5d5a41f">
  <xsd:schema xmlns:xsd="http://www.w3.org/2001/XMLSchema" xmlns:xs="http://www.w3.org/2001/XMLSchema" xmlns:p="http://schemas.microsoft.com/office/2006/metadata/properties" xmlns:ns1="http://schemas.microsoft.com/sharepoint/v3" xmlns:ns2="9bc6b55d-a734-43bd-8eab-fb065c703cf5" targetNamespace="http://schemas.microsoft.com/office/2006/metadata/properties" ma:root="true" ma:fieldsID="e5aa27c2e9a78a425d12d36a998865a2" ns1:_="" ns2:_="">
    <xsd:import namespace="http://schemas.microsoft.com/sharepoint/v3"/>
    <xsd:import namespace="9bc6b55d-a734-43bd-8eab-fb065c703cf5"/>
    <xsd:element name="properties">
      <xsd:complexType>
        <xsd:sequence>
          <xsd:element name="documentManagement">
            <xsd:complexType>
              <xsd:all>
                <xsd:element ref="ns2:SharedWithUsers" minOccurs="0"/>
                <xsd:element ref="ns2:SharedWithDetails" minOccurs="0"/>
                <xsd:element ref="ns1:_ip_UnifiedCompliancePolicyProperties" minOccurs="0"/>
                <xsd:element ref="ns1:_ip_UnifiedCompliancePolicyUIAction" minOccurs="0"/>
                <xsd:element ref="ns2:LastSharedByUser" minOccurs="0"/>
                <xsd:element ref="ns2:LastSharedBy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0" nillable="true" ma:displayName="Unified Compliance Policy Properties" ma:hidden="true" ma:internalName="_ip_UnifiedCompliancePolicyProperties">
      <xsd:simpleType>
        <xsd:restriction base="dms:Note"/>
      </xsd:simpleType>
    </xsd:element>
    <xsd:element name="_ip_UnifiedCompliancePolicyUIAction" ma:index="1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bc6b55d-a734-43bd-8eab-fb065c703cf5"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2" nillable="true" ma:displayName="Last Shared By User" ma:description="" ma:internalName="LastSharedByUser" ma:readOnly="true">
      <xsd:simpleType>
        <xsd:restriction base="dms:Note">
          <xsd:maxLength value="255"/>
        </xsd:restriction>
      </xsd:simpleType>
    </xsd:element>
    <xsd:element name="LastSharedByTime" ma:index="13" nillable="true" ma:displayName="Last Shared By Time" ma:description=""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FDA0CA33-A79C-42CC-B711-4E457C61B82C}">
  <ds:schemaRefs>
    <ds:schemaRef ds:uri="http://schemas.microsoft.com/sharepoint/v3/contenttype/forms"/>
  </ds:schemaRefs>
</ds:datastoreItem>
</file>

<file path=customXml/itemProps2.xml><?xml version="1.0" encoding="utf-8"?>
<ds:datastoreItem xmlns:ds="http://schemas.openxmlformats.org/officeDocument/2006/customXml" ds:itemID="{92601B69-FF0F-4F9E-8E5B-D592A185764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bc6b55d-a734-43bd-8eab-fb065c703cf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321B954-9788-4EA1-AD2B-FCD55044DE3E}">
  <ds:schemaRefs>
    <ds:schemaRef ds:uri="http://purl.org/dc/elements/1.1/"/>
    <ds:schemaRef ds:uri="http://schemas.microsoft.com/office/infopath/2007/PartnerControls"/>
    <ds:schemaRef ds:uri="http://schemas.openxmlformats.org/package/2006/metadata/core-properties"/>
    <ds:schemaRef ds:uri="http://www.w3.org/XML/1998/namespace"/>
    <ds:schemaRef ds:uri="http://purl.org/dc/terms/"/>
    <ds:schemaRef ds:uri="http://schemas.microsoft.com/office/2006/metadata/properties"/>
    <ds:schemaRef ds:uri="http://schemas.microsoft.com/office/2006/documentManagement/types"/>
    <ds:schemaRef ds:uri="http://purl.org/dc/dcmitype/"/>
    <ds:schemaRef ds:uri="9bc6b55d-a734-43bd-8eab-fb065c703cf5"/>
    <ds:schemaRef ds:uri="http://schemas.microsoft.com/sharepoint/v3"/>
  </ds:schemaRefs>
</ds:datastoreItem>
</file>

<file path=docProps/app.xml><?xml version="1.0" encoding="utf-8"?>
<Properties xmlns="http://schemas.openxmlformats.org/officeDocument/2006/extended-properties" xmlns:vt="http://schemas.openxmlformats.org/officeDocument/2006/docPropsVTypes">
  <Template>Cortana%20Analytics_v1</Template>
  <TotalTime>0</TotalTime>
  <Words>5516</Words>
  <Application>Microsoft Office PowerPoint</Application>
  <PresentationFormat>Custom</PresentationFormat>
  <Paragraphs>946</Paragraphs>
  <Slides>39</Slides>
  <Notes>39</Notes>
  <HiddenSlides>3</HiddenSlides>
  <MMClips>0</MMClips>
  <ScaleCrop>false</ScaleCrop>
  <HeadingPairs>
    <vt:vector size="8" baseType="variant">
      <vt:variant>
        <vt:lpstr>Fonts Used</vt:lpstr>
      </vt:variant>
      <vt:variant>
        <vt:i4>11</vt:i4>
      </vt:variant>
      <vt:variant>
        <vt:lpstr>Theme</vt:lpstr>
      </vt:variant>
      <vt:variant>
        <vt:i4>6</vt:i4>
      </vt:variant>
      <vt:variant>
        <vt:lpstr>Embedded OLE Servers</vt:lpstr>
      </vt:variant>
      <vt:variant>
        <vt:i4>1</vt:i4>
      </vt:variant>
      <vt:variant>
        <vt:lpstr>Slide Titles</vt:lpstr>
      </vt:variant>
      <vt:variant>
        <vt:i4>39</vt:i4>
      </vt:variant>
    </vt:vector>
  </HeadingPairs>
  <TitlesOfParts>
    <vt:vector size="57" baseType="lpstr">
      <vt:lpstr>SimSun</vt:lpstr>
      <vt:lpstr>Arial</vt:lpstr>
      <vt:lpstr>Calibri</vt:lpstr>
      <vt:lpstr>Consolas</vt:lpstr>
      <vt:lpstr>Courier New</vt:lpstr>
      <vt:lpstr>Segoe UI</vt:lpstr>
      <vt:lpstr>Segoe UI Light</vt:lpstr>
      <vt:lpstr>Segoe UI Semibold</vt:lpstr>
      <vt:lpstr>Segoe UI Semilight</vt:lpstr>
      <vt:lpstr>Times New Roman</vt:lpstr>
      <vt:lpstr>Wingdings</vt:lpstr>
      <vt:lpstr>COLOR TEMPLATE</vt:lpstr>
      <vt:lpstr>1_WHITE TEMPLATE</vt:lpstr>
      <vt:lpstr>2_WHITE TEMPLATE</vt:lpstr>
      <vt:lpstr>FY15 Enterprise identity theme</vt:lpstr>
      <vt:lpstr>5-30721_Build_2016_Template_Dark</vt:lpstr>
      <vt:lpstr>2_COLOR TEMPLATE</vt:lpstr>
      <vt:lpstr>think-cell Slide</vt:lpstr>
      <vt:lpstr>Cognitive Services:  Custom Vision Service &amp; APIs </vt:lpstr>
      <vt:lpstr>PowerPoint Presentation</vt:lpstr>
      <vt:lpstr>Cognitive Services Introduction</vt:lpstr>
      <vt:lpstr>PowerPoint Presentation</vt:lpstr>
      <vt:lpstr>PowerPoint Presentation</vt:lpstr>
      <vt:lpstr>PowerPoint Presentation</vt:lpstr>
      <vt:lpstr>PowerPoint Presentation</vt:lpstr>
      <vt:lpstr>Custom Vision Overview</vt:lpstr>
      <vt:lpstr>What is Custom Vision</vt:lpstr>
      <vt:lpstr>Custom Vision Process</vt:lpstr>
      <vt:lpstr>Prerequisites for Custom Vision</vt:lpstr>
      <vt:lpstr>Demo:   Using the  Customvision.ai Website </vt:lpstr>
      <vt:lpstr>Lab 1:</vt:lpstr>
      <vt:lpstr>Custom Vision APIs</vt:lpstr>
      <vt:lpstr>Type of Custom Vision Client Library’s</vt:lpstr>
      <vt:lpstr>Obtaining a training key</vt:lpstr>
      <vt:lpstr>Creating stores in memory</vt:lpstr>
      <vt:lpstr>API Instantiation and Credentials Management</vt:lpstr>
      <vt:lpstr>Handling Credential Input</vt:lpstr>
      <vt:lpstr>Loading Images into Memory</vt:lpstr>
      <vt:lpstr>Demo:   Setting up  Custom Vision Programmatically </vt:lpstr>
      <vt:lpstr>Creating a Project</vt:lpstr>
      <vt:lpstr>Managing Tagging</vt:lpstr>
      <vt:lpstr>Uploading Images</vt:lpstr>
      <vt:lpstr>Demo:   Creating  Custom Vision Projects and Image Management </vt:lpstr>
      <vt:lpstr>Training the model</vt:lpstr>
      <vt:lpstr>Making Predictions</vt:lpstr>
      <vt:lpstr>Demo:   Training and  Predicting a Custom Vision Model  </vt:lpstr>
      <vt:lpstr>Performing Object Detection</vt:lpstr>
      <vt:lpstr>PowerPoint Presentation</vt:lpstr>
      <vt:lpstr>Lab 2:</vt:lpstr>
      <vt:lpstr>Lab 3:</vt:lpstr>
      <vt:lpstr>Conclusion</vt:lpstr>
      <vt:lpstr>PowerPoint Presentation</vt:lpstr>
      <vt:lpstr>PowerPoint Presentation</vt:lpstr>
      <vt:lpstr>Custom Vision website</vt:lpstr>
      <vt:lpstr>Custom Vision Client Library’s</vt:lpstr>
      <vt:lpstr>Thank you  @ctesta_oneill https://www.linkedin.com/in/ctestaoneill/  http://learnanalytics.microsoft.com/</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rtana Intelligence Suite  Foundations – Data Preparation</dc:title>
  <dc:subject/>
  <dc:creator/>
  <cp:keywords/>
  <dc:description/>
  <cp:lastModifiedBy/>
  <cp:revision>2</cp:revision>
  <dcterms:created xsi:type="dcterms:W3CDTF">2016-06-28T18:15:46Z</dcterms:created>
  <dcterms:modified xsi:type="dcterms:W3CDTF">2018-08-20T15:20: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D79205F35F1AF40BCD07C4F58D4AC80</vt:lpwstr>
  </property>
  <property fmtid="{D5CDD505-2E9C-101B-9397-08002B2CF9AE}" pid="3" name="MSIP_Label_f42aa342-8706-4288-bd11-ebb85995028c_Enabled">
    <vt:lpwstr>True</vt:lpwstr>
  </property>
  <property fmtid="{D5CDD505-2E9C-101B-9397-08002B2CF9AE}" pid="4" name="MSIP_Label_f42aa342-8706-4288-bd11-ebb85995028c_Ref">
    <vt:lpwstr>https://api.informationprotection.azure.com/api/72f988bf-86f1-41af-91ab-2d7cd011db47</vt:lpwstr>
  </property>
  <property fmtid="{D5CDD505-2E9C-101B-9397-08002B2CF9AE}" pid="5" name="MSIP_Label_f42aa342-8706-4288-bd11-ebb85995028c_AssignedBy">
    <vt:lpwstr>chtestao@microsoft.com</vt:lpwstr>
  </property>
  <property fmtid="{D5CDD505-2E9C-101B-9397-08002B2CF9AE}" pid="6" name="MSIP_Label_f42aa342-8706-4288-bd11-ebb85995028c_DateCreated">
    <vt:lpwstr>2016-10-12T09:49:39.7896716+01:00</vt:lpwstr>
  </property>
  <property fmtid="{D5CDD505-2E9C-101B-9397-08002B2CF9AE}" pid="7" name="MSIP_Label_f42aa342-8706-4288-bd11-ebb85995028c_Name">
    <vt:lpwstr>General</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